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71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3" r:id="rId20"/>
    <p:sldMasterId id="2147483817" r:id="rId21"/>
    <p:sldMasterId id="2147483812" r:id="rId22"/>
  </p:sldMasterIdLst>
  <p:notesMasterIdLst>
    <p:notesMasterId r:id="rId40"/>
  </p:notesMasterIdLst>
  <p:handoutMasterIdLst>
    <p:handoutMasterId r:id="rId41"/>
  </p:handoutMasterIdLst>
  <p:sldIdLst>
    <p:sldId id="449" r:id="rId23"/>
    <p:sldId id="344" r:id="rId24"/>
    <p:sldId id="450" r:id="rId25"/>
    <p:sldId id="2147376378" r:id="rId26"/>
    <p:sldId id="2147376416" r:id="rId27"/>
    <p:sldId id="2145708263" r:id="rId28"/>
    <p:sldId id="2147376394" r:id="rId29"/>
    <p:sldId id="2146849412" r:id="rId30"/>
    <p:sldId id="2147376460" r:id="rId31"/>
    <p:sldId id="2147376459" r:id="rId32"/>
    <p:sldId id="2147377033" r:id="rId33"/>
    <p:sldId id="2147377034" r:id="rId34"/>
    <p:sldId id="6635" r:id="rId35"/>
    <p:sldId id="448" r:id="rId36"/>
    <p:sldId id="263" r:id="rId37"/>
    <p:sldId id="2147377032" r:id="rId38"/>
    <p:sldId id="2146849411" r:id="rId39"/>
  </p:sldIdLst>
  <p:sldSz cx="12195175" cy="6858000"/>
  <p:notesSz cx="6858000" cy="9144000"/>
  <p:custDataLst>
    <p:tags r:id="rId42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95A"/>
    <a:srgbClr val="FF0000"/>
    <a:srgbClr val="0F46A7"/>
    <a:srgbClr val="970A82"/>
    <a:srgbClr val="FF3399"/>
    <a:srgbClr val="FFFFFF"/>
    <a:srgbClr val="FEE3A1"/>
    <a:srgbClr val="FFF1D0"/>
    <a:srgbClr val="FFF8E7"/>
    <a:srgbClr val="FECE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6C4F76-2A40-446B-AAFE-78B3D529E062}" v="54" dt="2022-11-16T02:01:32.196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61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132" y="102"/>
      </p:cViewPr>
      <p:guideLst>
        <p:guide pos="3841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4.xml"/><Relationship Id="rId39" Type="http://schemas.openxmlformats.org/officeDocument/2006/relationships/slide" Target="slides/slide17.xml"/><Relationship Id="rId21" Type="http://schemas.openxmlformats.org/officeDocument/2006/relationships/slideMaster" Target="slideMasters/slideMaster2.xml"/><Relationship Id="rId34" Type="http://schemas.openxmlformats.org/officeDocument/2006/relationships/slide" Target="slides/slide12.xml"/><Relationship Id="rId42" Type="http://schemas.openxmlformats.org/officeDocument/2006/relationships/tags" Target="tags/tag1.xml"/><Relationship Id="rId47" Type="http://schemas.microsoft.com/office/2016/11/relationships/changesInfo" Target="changesInfos/changesInfo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" Target="slides/slide7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slide" Target="slides/slide15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slide" Target="slides/slide14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9.xml"/><Relationship Id="rId44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Master" Target="slideMasters/slideMaster3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slide" Target="slides/slide16.xml"/><Relationship Id="rId46" Type="http://schemas.openxmlformats.org/officeDocument/2006/relationships/tableStyles" Target="tableStyles.xml"/><Relationship Id="rId20" Type="http://schemas.openxmlformats.org/officeDocument/2006/relationships/slideMaster" Target="slideMasters/slideMaster1.xml"/><Relationship Id="rId41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math, Amitha" userId="c3525f0c-0cc9-4f43-aa0c-c729584a25e9" providerId="ADAL" clId="{D36C4F76-2A40-446B-AAFE-78B3D529E062}"/>
    <pc:docChg chg="undo custSel addSld delSld modSld sldOrd modMainMaster">
      <pc:chgData name="Kamath, Amitha" userId="c3525f0c-0cc9-4f43-aa0c-c729584a25e9" providerId="ADAL" clId="{D36C4F76-2A40-446B-AAFE-78B3D529E062}" dt="2022-11-16T02:04:15.037" v="1276" actId="20577"/>
      <pc:docMkLst>
        <pc:docMk/>
      </pc:docMkLst>
      <pc:sldChg chg="add">
        <pc:chgData name="Kamath, Amitha" userId="c3525f0c-0cc9-4f43-aa0c-c729584a25e9" providerId="ADAL" clId="{D36C4F76-2A40-446B-AAFE-78B3D529E062}" dt="2022-11-16T01:20:00.133" v="409"/>
        <pc:sldMkLst>
          <pc:docMk/>
          <pc:sldMk cId="2414143950" sldId="263"/>
        </pc:sldMkLst>
      </pc:sldChg>
      <pc:sldChg chg="addSp delSp modSp add del mod">
        <pc:chgData name="Kamath, Amitha" userId="c3525f0c-0cc9-4f43-aa0c-c729584a25e9" providerId="ADAL" clId="{D36C4F76-2A40-446B-AAFE-78B3D529E062}" dt="2022-11-16T01:59:11.626" v="1144" actId="47"/>
        <pc:sldMkLst>
          <pc:docMk/>
          <pc:sldMk cId="351111750" sldId="278"/>
        </pc:sldMkLst>
        <pc:spChg chg="add mod">
          <ac:chgData name="Kamath, Amitha" userId="c3525f0c-0cc9-4f43-aa0c-c729584a25e9" providerId="ADAL" clId="{D36C4F76-2A40-446B-AAFE-78B3D529E062}" dt="2022-11-16T01:57:22.387" v="1126"/>
          <ac:spMkLst>
            <pc:docMk/>
            <pc:sldMk cId="351111750" sldId="278"/>
            <ac:spMk id="6" creationId="{D0D4ABB0-1F16-4062-8F4B-9AB2217957DB}"/>
          </ac:spMkLst>
        </pc:spChg>
        <pc:spChg chg="mod">
          <ac:chgData name="Kamath, Amitha" userId="c3525f0c-0cc9-4f43-aa0c-c729584a25e9" providerId="ADAL" clId="{D36C4F76-2A40-446B-AAFE-78B3D529E062}" dt="2022-11-16T01:57:48.750" v="1130" actId="1076"/>
          <ac:spMkLst>
            <pc:docMk/>
            <pc:sldMk cId="351111750" sldId="278"/>
            <ac:spMk id="8" creationId="{D3DF9A4C-BFDF-C41B-E469-D472336EFEA2}"/>
          </ac:spMkLst>
        </pc:spChg>
        <pc:spChg chg="del">
          <ac:chgData name="Kamath, Amitha" userId="c3525f0c-0cc9-4f43-aa0c-c729584a25e9" providerId="ADAL" clId="{D36C4F76-2A40-446B-AAFE-78B3D529E062}" dt="2022-11-16T01:57:41.966" v="1129" actId="478"/>
          <ac:spMkLst>
            <pc:docMk/>
            <pc:sldMk cId="351111750" sldId="278"/>
            <ac:spMk id="9" creationId="{29A06D3E-9EC2-8DA3-33DD-F5167AD93976}"/>
          </ac:spMkLst>
        </pc:spChg>
        <pc:spChg chg="add mod">
          <ac:chgData name="Kamath, Amitha" userId="c3525f0c-0cc9-4f43-aa0c-c729584a25e9" providerId="ADAL" clId="{D36C4F76-2A40-446B-AAFE-78B3D529E062}" dt="2022-11-16T01:57:22.387" v="1126"/>
          <ac:spMkLst>
            <pc:docMk/>
            <pc:sldMk cId="351111750" sldId="278"/>
            <ac:spMk id="10" creationId="{9BC56BEB-EE8B-4D18-BF24-DD7D517FB8BF}"/>
          </ac:spMkLst>
        </pc:spChg>
        <pc:spChg chg="add mod">
          <ac:chgData name="Kamath, Amitha" userId="c3525f0c-0cc9-4f43-aa0c-c729584a25e9" providerId="ADAL" clId="{D36C4F76-2A40-446B-AAFE-78B3D529E062}" dt="2022-11-16T01:57:22.387" v="1126"/>
          <ac:spMkLst>
            <pc:docMk/>
            <pc:sldMk cId="351111750" sldId="278"/>
            <ac:spMk id="11" creationId="{72ACC6F0-F90C-4362-8902-70A70C9D19C8}"/>
          </ac:spMkLst>
        </pc:spChg>
        <pc:spChg chg="add mod">
          <ac:chgData name="Kamath, Amitha" userId="c3525f0c-0cc9-4f43-aa0c-c729584a25e9" providerId="ADAL" clId="{D36C4F76-2A40-446B-AAFE-78B3D529E062}" dt="2022-11-16T01:57:22.387" v="1126"/>
          <ac:spMkLst>
            <pc:docMk/>
            <pc:sldMk cId="351111750" sldId="278"/>
            <ac:spMk id="12" creationId="{F44F0975-66F7-4FB4-B960-D405C1F055A9}"/>
          </ac:spMkLst>
        </pc:spChg>
        <pc:picChg chg="mod">
          <ac:chgData name="Kamath, Amitha" userId="c3525f0c-0cc9-4f43-aa0c-c729584a25e9" providerId="ADAL" clId="{D36C4F76-2A40-446B-AAFE-78B3D529E062}" dt="2022-11-16T01:57:51.967" v="1131" actId="1076"/>
          <ac:picMkLst>
            <pc:docMk/>
            <pc:sldMk cId="351111750" sldId="278"/>
            <ac:picMk id="7" creationId="{32BBFC42-203E-4B17-4BC8-A3FB86487F4B}"/>
          </ac:picMkLst>
        </pc:picChg>
      </pc:sldChg>
      <pc:sldChg chg="modSp mod">
        <pc:chgData name="Kamath, Amitha" userId="c3525f0c-0cc9-4f43-aa0c-c729584a25e9" providerId="ADAL" clId="{D36C4F76-2A40-446B-AAFE-78B3D529E062}" dt="2022-11-16T02:04:15.037" v="1276" actId="20577"/>
        <pc:sldMkLst>
          <pc:docMk/>
          <pc:sldMk cId="0" sldId="344"/>
        </pc:sldMkLst>
        <pc:spChg chg="mod">
          <ac:chgData name="Kamath, Amitha" userId="c3525f0c-0cc9-4f43-aa0c-c729584a25e9" providerId="ADAL" clId="{D36C4F76-2A40-446B-AAFE-78B3D529E062}" dt="2022-11-16T02:04:15.037" v="1276" actId="20577"/>
          <ac:spMkLst>
            <pc:docMk/>
            <pc:sldMk cId="0" sldId="344"/>
            <ac:spMk id="3" creationId="{00000000-0000-0000-0000-000000000000}"/>
          </ac:spMkLst>
        </pc:spChg>
      </pc:sldChg>
      <pc:sldChg chg="addSp modSp mod ord">
        <pc:chgData name="Kamath, Amitha" userId="c3525f0c-0cc9-4f43-aa0c-c729584a25e9" providerId="ADAL" clId="{D36C4F76-2A40-446B-AAFE-78B3D529E062}" dt="2022-11-16T02:00:34.322" v="1161" actId="1076"/>
        <pc:sldMkLst>
          <pc:docMk/>
          <pc:sldMk cId="640209904" sldId="448"/>
        </pc:sldMkLst>
        <pc:spChg chg="mod">
          <ac:chgData name="Kamath, Amitha" userId="c3525f0c-0cc9-4f43-aa0c-c729584a25e9" providerId="ADAL" clId="{D36C4F76-2A40-446B-AAFE-78B3D529E062}" dt="2022-11-16T02:00:28.132" v="1160" actId="1036"/>
          <ac:spMkLst>
            <pc:docMk/>
            <pc:sldMk cId="640209904" sldId="448"/>
            <ac:spMk id="3" creationId="{F02EFDEC-1C58-4504-92E1-D8E4DBCFE8FE}"/>
          </ac:spMkLst>
        </pc:spChg>
        <pc:spChg chg="mod">
          <ac:chgData name="Kamath, Amitha" userId="c3525f0c-0cc9-4f43-aa0c-c729584a25e9" providerId="ADAL" clId="{D36C4F76-2A40-446B-AAFE-78B3D529E062}" dt="2022-11-16T02:00:28.132" v="1160" actId="1036"/>
          <ac:spMkLst>
            <pc:docMk/>
            <pc:sldMk cId="640209904" sldId="448"/>
            <ac:spMk id="4" creationId="{E8CBF4DD-15EB-47C8-94C8-492FB092CB97}"/>
          </ac:spMkLst>
        </pc:spChg>
        <pc:spChg chg="add mod">
          <ac:chgData name="Kamath, Amitha" userId="c3525f0c-0cc9-4f43-aa0c-c729584a25e9" providerId="ADAL" clId="{D36C4F76-2A40-446B-AAFE-78B3D529E062}" dt="2022-11-16T02:00:28.132" v="1160" actId="1036"/>
          <ac:spMkLst>
            <pc:docMk/>
            <pc:sldMk cId="640209904" sldId="448"/>
            <ac:spMk id="5" creationId="{06A43D26-02DA-4293-A438-DD6767786A4E}"/>
          </ac:spMkLst>
        </pc:spChg>
        <pc:spChg chg="add mod">
          <ac:chgData name="Kamath, Amitha" userId="c3525f0c-0cc9-4f43-aa0c-c729584a25e9" providerId="ADAL" clId="{D36C4F76-2A40-446B-AAFE-78B3D529E062}" dt="2022-11-16T02:00:28.132" v="1160" actId="1036"/>
          <ac:spMkLst>
            <pc:docMk/>
            <pc:sldMk cId="640209904" sldId="448"/>
            <ac:spMk id="6" creationId="{D6101E28-8B9F-4E05-869C-4CBE223A4644}"/>
          </ac:spMkLst>
        </pc:spChg>
        <pc:spChg chg="add mod">
          <ac:chgData name="Kamath, Amitha" userId="c3525f0c-0cc9-4f43-aa0c-c729584a25e9" providerId="ADAL" clId="{D36C4F76-2A40-446B-AAFE-78B3D529E062}" dt="2022-11-16T01:59:00.445" v="1140" actId="1076"/>
          <ac:spMkLst>
            <pc:docMk/>
            <pc:sldMk cId="640209904" sldId="448"/>
            <ac:spMk id="9" creationId="{0047475B-04DD-42EB-B85D-A7D516E03727}"/>
          </ac:spMkLst>
        </pc:spChg>
        <pc:spChg chg="add mod">
          <ac:chgData name="Kamath, Amitha" userId="c3525f0c-0cc9-4f43-aa0c-c729584a25e9" providerId="ADAL" clId="{D36C4F76-2A40-446B-AAFE-78B3D529E062}" dt="2022-11-16T01:59:03.012" v="1141" actId="1076"/>
          <ac:spMkLst>
            <pc:docMk/>
            <pc:sldMk cId="640209904" sldId="448"/>
            <ac:spMk id="11" creationId="{63AA9E75-6978-4B80-AAAE-EE101C480F09}"/>
          </ac:spMkLst>
        </pc:spChg>
        <pc:picChg chg="add mod">
          <ac:chgData name="Kamath, Amitha" userId="c3525f0c-0cc9-4f43-aa0c-c729584a25e9" providerId="ADAL" clId="{D36C4F76-2A40-446B-AAFE-78B3D529E062}" dt="2022-11-16T02:00:34.322" v="1161" actId="1076"/>
          <ac:picMkLst>
            <pc:docMk/>
            <pc:sldMk cId="640209904" sldId="448"/>
            <ac:picMk id="7" creationId="{EF5116E6-860B-44C5-AC6D-B8F98494AC35}"/>
          </ac:picMkLst>
        </pc:picChg>
      </pc:sldChg>
      <pc:sldChg chg="addSp delSp modSp del mod addAnim delAnim">
        <pc:chgData name="Kamath, Amitha" userId="c3525f0c-0cc9-4f43-aa0c-c729584a25e9" providerId="ADAL" clId="{D36C4F76-2A40-446B-AAFE-78B3D529E062}" dt="2022-11-16T01:34:49.459" v="777" actId="47"/>
        <pc:sldMkLst>
          <pc:docMk/>
          <pc:sldMk cId="1957313595" sldId="503"/>
        </pc:sldMkLst>
        <pc:spChg chg="add mod">
          <ac:chgData name="Kamath, Amitha" userId="c3525f0c-0cc9-4f43-aa0c-c729584a25e9" providerId="ADAL" clId="{D36C4F76-2A40-446B-AAFE-78B3D529E062}" dt="2022-11-16T01:27:35.984" v="529" actId="1076"/>
          <ac:spMkLst>
            <pc:docMk/>
            <pc:sldMk cId="1957313595" sldId="503"/>
            <ac:spMk id="3" creationId="{E585AD54-3A0E-46ED-8352-E98854B246C6}"/>
          </ac:spMkLst>
        </pc:spChg>
        <pc:spChg chg="add del">
          <ac:chgData name="Kamath, Amitha" userId="c3525f0c-0cc9-4f43-aa0c-c729584a25e9" providerId="ADAL" clId="{D36C4F76-2A40-446B-AAFE-78B3D529E062}" dt="2022-11-16T01:28:27.950" v="537" actId="478"/>
          <ac:spMkLst>
            <pc:docMk/>
            <pc:sldMk cId="1957313595" sldId="503"/>
            <ac:spMk id="4" creationId="{4D75B06A-C3CA-4BC0-BD30-726B84901B10}"/>
          </ac:spMkLst>
        </pc:spChg>
        <pc:spChg chg="mod">
          <ac:chgData name="Kamath, Amitha" userId="c3525f0c-0cc9-4f43-aa0c-c729584a25e9" providerId="ADAL" clId="{D36C4F76-2A40-446B-AAFE-78B3D529E062}" dt="2022-11-16T01:27:22.727" v="526" actId="1076"/>
          <ac:spMkLst>
            <pc:docMk/>
            <pc:sldMk cId="1957313595" sldId="503"/>
            <ac:spMk id="14" creationId="{00000000-0000-0000-0000-000000000000}"/>
          </ac:spMkLst>
        </pc:spChg>
        <pc:spChg chg="add mod">
          <ac:chgData name="Kamath, Amitha" userId="c3525f0c-0cc9-4f43-aa0c-c729584a25e9" providerId="ADAL" clId="{D36C4F76-2A40-446B-AAFE-78B3D529E062}" dt="2022-11-16T01:27:15.446" v="524" actId="1076"/>
          <ac:spMkLst>
            <pc:docMk/>
            <pc:sldMk cId="1957313595" sldId="503"/>
            <ac:spMk id="32" creationId="{D6BD32C1-721C-47DF-B4D1-6D0A79B08EA3}"/>
          </ac:spMkLst>
        </pc:spChg>
        <pc:spChg chg="add mod">
          <ac:chgData name="Kamath, Amitha" userId="c3525f0c-0cc9-4f43-aa0c-c729584a25e9" providerId="ADAL" clId="{D36C4F76-2A40-446B-AAFE-78B3D529E062}" dt="2022-11-16T01:27:06.500" v="522" actId="1076"/>
          <ac:spMkLst>
            <pc:docMk/>
            <pc:sldMk cId="1957313595" sldId="503"/>
            <ac:spMk id="33" creationId="{C2914B4E-247C-4D6C-B4BA-9176D52754F5}"/>
          </ac:spMkLst>
        </pc:spChg>
        <pc:spChg chg="mod">
          <ac:chgData name="Kamath, Amitha" userId="c3525f0c-0cc9-4f43-aa0c-c729584a25e9" providerId="ADAL" clId="{D36C4F76-2A40-446B-AAFE-78B3D529E062}" dt="2022-11-16T01:27:29.173" v="528" actId="14100"/>
          <ac:spMkLst>
            <pc:docMk/>
            <pc:sldMk cId="1957313595" sldId="503"/>
            <ac:spMk id="55" creationId="{B21591EA-0D19-4E39-A326-EB79366A35DD}"/>
          </ac:spMkLst>
        </pc:spChg>
        <pc:grpChg chg="mod">
          <ac:chgData name="Kamath, Amitha" userId="c3525f0c-0cc9-4f43-aa0c-c729584a25e9" providerId="ADAL" clId="{D36C4F76-2A40-446B-AAFE-78B3D529E062}" dt="2022-11-16T01:28:27.290" v="536" actId="1076"/>
          <ac:grpSpMkLst>
            <pc:docMk/>
            <pc:sldMk cId="1957313595" sldId="503"/>
            <ac:grpSpMk id="21" creationId="{00000000-0000-0000-0000-000000000000}"/>
          </ac:grpSpMkLst>
        </pc:grpChg>
        <pc:grpChg chg="add del">
          <ac:chgData name="Kamath, Amitha" userId="c3525f0c-0cc9-4f43-aa0c-c729584a25e9" providerId="ADAL" clId="{D36C4F76-2A40-446B-AAFE-78B3D529E062}" dt="2022-11-16T01:28:29.101" v="539" actId="478"/>
          <ac:grpSpMkLst>
            <pc:docMk/>
            <pc:sldMk cId="1957313595" sldId="503"/>
            <ac:grpSpMk id="37" creationId="{9B85F259-F89C-46B7-B279-D041CCFB0002}"/>
          </ac:grpSpMkLst>
        </pc:grpChg>
        <pc:cxnChg chg="add del mod">
          <ac:chgData name="Kamath, Amitha" userId="c3525f0c-0cc9-4f43-aa0c-c729584a25e9" providerId="ADAL" clId="{D36C4F76-2A40-446B-AAFE-78B3D529E062}" dt="2022-11-16T01:28:28.535" v="538" actId="478"/>
          <ac:cxnSpMkLst>
            <pc:docMk/>
            <pc:sldMk cId="1957313595" sldId="503"/>
            <ac:cxnSpMk id="16" creationId="{00000000-0000-0000-0000-000000000000}"/>
          </ac:cxnSpMkLst>
        </pc:cxnChg>
        <pc:cxnChg chg="mod">
          <ac:chgData name="Kamath, Amitha" userId="c3525f0c-0cc9-4f43-aa0c-c729584a25e9" providerId="ADAL" clId="{D36C4F76-2A40-446B-AAFE-78B3D529E062}" dt="2022-11-16T01:28:27.290" v="536" actId="1076"/>
          <ac:cxnSpMkLst>
            <pc:docMk/>
            <pc:sldMk cId="1957313595" sldId="503"/>
            <ac:cxnSpMk id="17" creationId="{00000000-0000-0000-0000-000000000000}"/>
          </ac:cxnSpMkLst>
        </pc:cxnChg>
      </pc:sldChg>
      <pc:sldChg chg="addSp delSp modSp add mod">
        <pc:chgData name="Kamath, Amitha" userId="c3525f0c-0cc9-4f43-aa0c-c729584a25e9" providerId="ADAL" clId="{D36C4F76-2A40-446B-AAFE-78B3D529E062}" dt="2022-11-16T02:01:50.155" v="1182" actId="1076"/>
        <pc:sldMkLst>
          <pc:docMk/>
          <pc:sldMk cId="2940279639" sldId="6635"/>
        </pc:sldMkLst>
        <pc:spChg chg="mod">
          <ac:chgData name="Kamath, Amitha" userId="c3525f0c-0cc9-4f43-aa0c-c729584a25e9" providerId="ADAL" clId="{D36C4F76-2A40-446B-AAFE-78B3D529E062}" dt="2022-11-16T02:01:50.155" v="1182" actId="1076"/>
          <ac:spMkLst>
            <pc:docMk/>
            <pc:sldMk cId="2940279639" sldId="6635"/>
            <ac:spMk id="2" creationId="{00000000-0000-0000-0000-000000000000}"/>
          </ac:spMkLst>
        </pc:spChg>
        <pc:spChg chg="mod">
          <ac:chgData name="Kamath, Amitha" userId="c3525f0c-0cc9-4f43-aa0c-c729584a25e9" providerId="ADAL" clId="{D36C4F76-2A40-446B-AAFE-78B3D529E062}" dt="2022-11-16T02:01:46.358" v="1181" actId="1076"/>
          <ac:spMkLst>
            <pc:docMk/>
            <pc:sldMk cId="2940279639" sldId="6635"/>
            <ac:spMk id="3" creationId="{00000000-0000-0000-0000-000000000000}"/>
          </ac:spMkLst>
        </pc:spChg>
        <pc:spChg chg="add del">
          <ac:chgData name="Kamath, Amitha" userId="c3525f0c-0cc9-4f43-aa0c-c729584a25e9" providerId="ADAL" clId="{D36C4F76-2A40-446B-AAFE-78B3D529E062}" dt="2022-11-16T01:17:51.802" v="405" actId="22"/>
          <ac:spMkLst>
            <pc:docMk/>
            <pc:sldMk cId="2940279639" sldId="6635"/>
            <ac:spMk id="9" creationId="{B278370C-4FF7-422F-A348-7208399A1D11}"/>
          </ac:spMkLst>
        </pc:spChg>
        <pc:spChg chg="add del">
          <ac:chgData name="Kamath, Amitha" userId="c3525f0c-0cc9-4f43-aa0c-c729584a25e9" providerId="ADAL" clId="{D36C4F76-2A40-446B-AAFE-78B3D529E062}" dt="2022-11-16T01:18:07.201" v="407" actId="22"/>
          <ac:spMkLst>
            <pc:docMk/>
            <pc:sldMk cId="2940279639" sldId="6635"/>
            <ac:spMk id="11" creationId="{00D470E0-1D67-4781-81E1-3570275033A7}"/>
          </ac:spMkLst>
        </pc:spChg>
        <pc:picChg chg="add">
          <ac:chgData name="Kamath, Amitha" userId="c3525f0c-0cc9-4f43-aa0c-c729584a25e9" providerId="ADAL" clId="{D36C4F76-2A40-446B-AAFE-78B3D529E062}" dt="2022-11-16T01:16:36.489" v="401" actId="22"/>
          <ac:picMkLst>
            <pc:docMk/>
            <pc:sldMk cId="2940279639" sldId="6635"/>
            <ac:picMk id="5" creationId="{0D86FE3F-5558-48D6-B8A9-228B2CB57715}"/>
          </ac:picMkLst>
        </pc:picChg>
        <pc:picChg chg="add del">
          <ac:chgData name="Kamath, Amitha" userId="c3525f0c-0cc9-4f43-aa0c-c729584a25e9" providerId="ADAL" clId="{D36C4F76-2A40-446B-AAFE-78B3D529E062}" dt="2022-11-16T01:16:43.126" v="403" actId="22"/>
          <ac:picMkLst>
            <pc:docMk/>
            <pc:sldMk cId="2940279639" sldId="6635"/>
            <ac:picMk id="7" creationId="{E9C19BF9-BA7B-4F7E-A479-A4637B9BA25C}"/>
          </ac:picMkLst>
        </pc:picChg>
      </pc:sldChg>
      <pc:sldChg chg="modSp add mod">
        <pc:chgData name="Kamath, Amitha" userId="c3525f0c-0cc9-4f43-aa0c-c729584a25e9" providerId="ADAL" clId="{D36C4F76-2A40-446B-AAFE-78B3D529E062}" dt="2022-11-16T02:03:42.652" v="1251" actId="20577"/>
        <pc:sldMkLst>
          <pc:docMk/>
          <pc:sldMk cId="4274636493" sldId="2146849412"/>
        </pc:sldMkLst>
        <pc:spChg chg="mod">
          <ac:chgData name="Kamath, Amitha" userId="c3525f0c-0cc9-4f43-aa0c-c729584a25e9" providerId="ADAL" clId="{D36C4F76-2A40-446B-AAFE-78B3D529E062}" dt="2022-11-16T02:03:28.530" v="1245" actId="20577"/>
          <ac:spMkLst>
            <pc:docMk/>
            <pc:sldMk cId="4274636493" sldId="2146849412"/>
            <ac:spMk id="3" creationId="{9F644F3B-2A41-5542-AFD4-FC75F7DC3C69}"/>
          </ac:spMkLst>
        </pc:spChg>
        <pc:spChg chg="mod">
          <ac:chgData name="Kamath, Amitha" userId="c3525f0c-0cc9-4f43-aa0c-c729584a25e9" providerId="ADAL" clId="{D36C4F76-2A40-446B-AAFE-78B3D529E062}" dt="2022-11-16T02:03:42.652" v="1251" actId="20577"/>
          <ac:spMkLst>
            <pc:docMk/>
            <pc:sldMk cId="4274636493" sldId="2146849412"/>
            <ac:spMk id="24" creationId="{00000000-0000-0000-0000-000000000000}"/>
          </ac:spMkLst>
        </pc:spChg>
      </pc:sldChg>
      <pc:sldChg chg="del">
        <pc:chgData name="Kamath, Amitha" userId="c3525f0c-0cc9-4f43-aa0c-c729584a25e9" providerId="ADAL" clId="{D36C4F76-2A40-446B-AAFE-78B3D529E062}" dt="2022-11-16T01:40:34.469" v="798" actId="47"/>
        <pc:sldMkLst>
          <pc:docMk/>
          <pc:sldMk cId="2236372703" sldId="2147375411"/>
        </pc:sldMkLst>
      </pc:sldChg>
      <pc:sldChg chg="modAnim">
        <pc:chgData name="Kamath, Amitha" userId="c3525f0c-0cc9-4f43-aa0c-c729584a25e9" providerId="ADAL" clId="{D36C4F76-2A40-446B-AAFE-78B3D529E062}" dt="2022-11-16T02:01:32.196" v="1180"/>
        <pc:sldMkLst>
          <pc:docMk/>
          <pc:sldMk cId="2610662271" sldId="2147376416"/>
        </pc:sldMkLst>
      </pc:sldChg>
      <pc:sldChg chg="modSp mod">
        <pc:chgData name="Kamath, Amitha" userId="c3525f0c-0cc9-4f43-aa0c-c729584a25e9" providerId="ADAL" clId="{D36C4F76-2A40-446B-AAFE-78B3D529E062}" dt="2022-11-16T01:53:21.324" v="977" actId="20577"/>
        <pc:sldMkLst>
          <pc:docMk/>
          <pc:sldMk cId="3493974927" sldId="2147376459"/>
        </pc:sldMkLst>
        <pc:spChg chg="mod">
          <ac:chgData name="Kamath, Amitha" userId="c3525f0c-0cc9-4f43-aa0c-c729584a25e9" providerId="ADAL" clId="{D36C4F76-2A40-446B-AAFE-78B3D529E062}" dt="2022-11-16T01:53:21.324" v="977" actId="20577"/>
          <ac:spMkLst>
            <pc:docMk/>
            <pc:sldMk cId="3493974927" sldId="2147376459"/>
            <ac:spMk id="2" creationId="{DD745F6F-2E8F-D149-A6AA-1413E28929EA}"/>
          </ac:spMkLst>
        </pc:spChg>
      </pc:sldChg>
      <pc:sldChg chg="modSp mod">
        <pc:chgData name="Kamath, Amitha" userId="c3525f0c-0cc9-4f43-aa0c-c729584a25e9" providerId="ADAL" clId="{D36C4F76-2A40-446B-AAFE-78B3D529E062}" dt="2022-11-16T02:04:03.674" v="1275" actId="20577"/>
        <pc:sldMkLst>
          <pc:docMk/>
          <pc:sldMk cId="103903315" sldId="2147376460"/>
        </pc:sldMkLst>
        <pc:spChg chg="mod">
          <ac:chgData name="Kamath, Amitha" userId="c3525f0c-0cc9-4f43-aa0c-c729584a25e9" providerId="ADAL" clId="{D36C4F76-2A40-446B-AAFE-78B3D529E062}" dt="2022-11-16T02:04:03.674" v="1275" actId="20577"/>
          <ac:spMkLst>
            <pc:docMk/>
            <pc:sldMk cId="103903315" sldId="2147376460"/>
            <ac:spMk id="3" creationId="{6EC46871-C60A-0B74-6C0B-9FC12D31CEDB}"/>
          </ac:spMkLst>
        </pc:spChg>
      </pc:sldChg>
      <pc:sldChg chg="delSp modSp del mod ord">
        <pc:chgData name="Kamath, Amitha" userId="c3525f0c-0cc9-4f43-aa0c-c729584a25e9" providerId="ADAL" clId="{D36C4F76-2A40-446B-AAFE-78B3D529E062}" dt="2022-11-16T01:52:13.974" v="965" actId="47"/>
        <pc:sldMkLst>
          <pc:docMk/>
          <pc:sldMk cId="2666079488" sldId="2147377031"/>
        </pc:sldMkLst>
        <pc:spChg chg="mod">
          <ac:chgData name="Kamath, Amitha" userId="c3525f0c-0cc9-4f43-aa0c-c729584a25e9" providerId="ADAL" clId="{D36C4F76-2A40-446B-AAFE-78B3D529E062}" dt="2022-11-12T15:44:49.286" v="14" actId="20577"/>
          <ac:spMkLst>
            <pc:docMk/>
            <pc:sldMk cId="2666079488" sldId="2147377031"/>
            <ac:spMk id="3" creationId="{BC2AF366-313E-D342-A576-F28FD6C9A8C9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7" creationId="{B26129CA-9004-466E-B288-9B39CC8F446B}"/>
          </ac:spMkLst>
        </pc:spChg>
        <pc:spChg chg="mod">
          <ac:chgData name="Kamath, Amitha" userId="c3525f0c-0cc9-4f43-aa0c-c729584a25e9" providerId="ADAL" clId="{D36C4F76-2A40-446B-AAFE-78B3D529E062}" dt="2022-11-12T15:45:55.875" v="24" actId="1036"/>
          <ac:spMkLst>
            <pc:docMk/>
            <pc:sldMk cId="2666079488" sldId="2147377031"/>
            <ac:spMk id="9" creationId="{7EA4B837-1638-40E8-BEA5-5A83C1638C0B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13" creationId="{56AB2EDE-C2F0-4590-B935-CD15E55E5FAD}"/>
          </ac:spMkLst>
        </pc:spChg>
        <pc:spChg chg="mod">
          <ac:chgData name="Kamath, Amitha" userId="c3525f0c-0cc9-4f43-aa0c-c729584a25e9" providerId="ADAL" clId="{D36C4F76-2A40-446B-AAFE-78B3D529E062}" dt="2022-11-16T01:35:31.207" v="795" actId="1076"/>
          <ac:spMkLst>
            <pc:docMk/>
            <pc:sldMk cId="2666079488" sldId="2147377031"/>
            <ac:spMk id="16" creationId="{7C8FBF53-3574-4279-860F-B0DB265CAFCF}"/>
          </ac:spMkLst>
        </pc:spChg>
        <pc:spChg chg="mod">
          <ac:chgData name="Kamath, Amitha" userId="c3525f0c-0cc9-4f43-aa0c-c729584a25e9" providerId="ADAL" clId="{D36C4F76-2A40-446B-AAFE-78B3D529E062}" dt="2022-11-12T15:45:55.875" v="24" actId="1036"/>
          <ac:spMkLst>
            <pc:docMk/>
            <pc:sldMk cId="2666079488" sldId="2147377031"/>
            <ac:spMk id="17" creationId="{AD2ED3CA-D6C1-4A2D-A878-FCF94166EC9B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18" creationId="{86D60BD4-66A9-4E6E-8F83-B558CF063B1F}"/>
          </ac:spMkLst>
        </pc:spChg>
        <pc:spChg chg="mod">
          <ac:chgData name="Kamath, Amitha" userId="c3525f0c-0cc9-4f43-aa0c-c729584a25e9" providerId="ADAL" clId="{D36C4F76-2A40-446B-AAFE-78B3D529E062}" dt="2022-11-12T15:45:55.875" v="24" actId="1036"/>
          <ac:spMkLst>
            <pc:docMk/>
            <pc:sldMk cId="2666079488" sldId="2147377031"/>
            <ac:spMk id="21" creationId="{730A83F8-0554-43FF-80D4-CC2E61DF6804}"/>
          </ac:spMkLst>
        </pc:spChg>
        <pc:spChg chg="mod">
          <ac:chgData name="Kamath, Amitha" userId="c3525f0c-0cc9-4f43-aa0c-c729584a25e9" providerId="ADAL" clId="{D36C4F76-2A40-446B-AAFE-78B3D529E062}" dt="2022-11-12T15:45:55.875" v="24" actId="1036"/>
          <ac:spMkLst>
            <pc:docMk/>
            <pc:sldMk cId="2666079488" sldId="2147377031"/>
            <ac:spMk id="22" creationId="{0C810D29-F142-43E6-BB0E-D616A9FB4CFC}"/>
          </ac:spMkLst>
        </pc:spChg>
        <pc:spChg chg="mod">
          <ac:chgData name="Kamath, Amitha" userId="c3525f0c-0cc9-4f43-aa0c-c729584a25e9" providerId="ADAL" clId="{D36C4F76-2A40-446B-AAFE-78B3D529E062}" dt="2022-11-16T01:13:07.545" v="332" actId="1076"/>
          <ac:spMkLst>
            <pc:docMk/>
            <pc:sldMk cId="2666079488" sldId="2147377031"/>
            <ac:spMk id="24" creationId="{91232BB5-E36D-46CB-9118-6D2912C8F2AD}"/>
          </ac:spMkLst>
        </pc:spChg>
        <pc:spChg chg="mod">
          <ac:chgData name="Kamath, Amitha" userId="c3525f0c-0cc9-4f43-aa0c-c729584a25e9" providerId="ADAL" clId="{D36C4F76-2A40-446B-AAFE-78B3D529E062}" dt="2022-11-12T15:45:29.388" v="17" actId="255"/>
          <ac:spMkLst>
            <pc:docMk/>
            <pc:sldMk cId="2666079488" sldId="2147377031"/>
            <ac:spMk id="25" creationId="{8D7A0538-7C23-4519-98A4-79C94987FA9D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46" creationId="{5D6936EE-4351-496C-A590-004BF68B6099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49" creationId="{2D137414-07CA-47AA-ABEF-8364D147BB77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51" creationId="{AB767D29-E75A-4ED5-AC82-6FC65DB41CB4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52" creationId="{C3AB7AD6-40EE-408A-B8EA-C2312A944CC4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53" creationId="{37A705FF-28BE-4CC4-A6B8-44F6D4054C0D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55" creationId="{17A2DC66-4171-406D-BFB6-D59826750369}"/>
          </ac:spMkLst>
        </pc:spChg>
        <pc:spChg chg="mod">
          <ac:chgData name="Kamath, Amitha" userId="c3525f0c-0cc9-4f43-aa0c-c729584a25e9" providerId="ADAL" clId="{D36C4F76-2A40-446B-AAFE-78B3D529E062}" dt="2022-11-12T15:45:36.428" v="18" actId="2711"/>
          <ac:spMkLst>
            <pc:docMk/>
            <pc:sldMk cId="2666079488" sldId="2147377031"/>
            <ac:spMk id="57" creationId="{D1F37FB4-357C-4D4B-9114-BBEA44DF31E2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58" creationId="{7F22FE8E-EE26-48C3-B189-2703D225C629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61" creationId="{AF9268B1-30CB-4524-92C0-26770E60B875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62" creationId="{95CA366A-BFE0-498B-B0EC-FF91F8F867E9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63" creationId="{E2C4462D-CFB3-45D0-8CB0-C0F34C5FF8F7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64" creationId="{0BEFAF4A-D62D-4C79-9D2D-5955BE7F36C4}"/>
          </ac:spMkLst>
        </pc:spChg>
        <pc:spChg chg="del">
          <ac:chgData name="Kamath, Amitha" userId="c3525f0c-0cc9-4f43-aa0c-c729584a25e9" providerId="ADAL" clId="{D36C4F76-2A40-446B-AAFE-78B3D529E062}" dt="2022-11-16T01:35:05.808" v="779" actId="478"/>
          <ac:spMkLst>
            <pc:docMk/>
            <pc:sldMk cId="2666079488" sldId="2147377031"/>
            <ac:spMk id="65" creationId="{20399A54-EC54-41D3-B2C7-0385FBCE1244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66" creationId="{FDE62D95-61C8-4999-A303-623A68E77DBE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67" creationId="{C900288A-1E22-4E79-B285-8EA4297B5F48}"/>
          </ac:spMkLst>
        </pc:spChg>
        <pc:spChg chg="mod">
          <ac:chgData name="Kamath, Amitha" userId="c3525f0c-0cc9-4f43-aa0c-c729584a25e9" providerId="ADAL" clId="{D36C4F76-2A40-446B-AAFE-78B3D529E062}" dt="2022-11-12T15:45:55.875" v="24" actId="1036"/>
          <ac:spMkLst>
            <pc:docMk/>
            <pc:sldMk cId="2666079488" sldId="2147377031"/>
            <ac:spMk id="77" creationId="{FC1554CC-46E3-4445-A308-5262FFEA00E5}"/>
          </ac:spMkLst>
        </pc:spChg>
        <pc:spChg chg="mod">
          <ac:chgData name="Kamath, Amitha" userId="c3525f0c-0cc9-4f43-aa0c-c729584a25e9" providerId="ADAL" clId="{D36C4F76-2A40-446B-AAFE-78B3D529E062}" dt="2022-11-16T01:35:24.638" v="792" actId="1038"/>
          <ac:spMkLst>
            <pc:docMk/>
            <pc:sldMk cId="2666079488" sldId="2147377031"/>
            <ac:spMk id="86" creationId="{5DB6C586-43AE-42B4-8D7D-4A5FCD5F4A22}"/>
          </ac:spMkLst>
        </pc:spChg>
        <pc:grpChg chg="mod">
          <ac:chgData name="Kamath, Amitha" userId="c3525f0c-0cc9-4f43-aa0c-c729584a25e9" providerId="ADAL" clId="{D36C4F76-2A40-446B-AAFE-78B3D529E062}" dt="2022-11-16T01:35:25.236" v="793" actId="1076"/>
          <ac:grpSpMkLst>
            <pc:docMk/>
            <pc:sldMk cId="2666079488" sldId="2147377031"/>
            <ac:grpSpMk id="2" creationId="{DDD6B219-6BC2-45CF-BC89-1A393BF9CC55}"/>
          </ac:grpSpMkLst>
        </pc:grpChg>
        <pc:grpChg chg="mod">
          <ac:chgData name="Kamath, Amitha" userId="c3525f0c-0cc9-4f43-aa0c-c729584a25e9" providerId="ADAL" clId="{D36C4F76-2A40-446B-AAFE-78B3D529E062}" dt="2022-11-12T15:45:55.875" v="24" actId="1036"/>
          <ac:grpSpMkLst>
            <pc:docMk/>
            <pc:sldMk cId="2666079488" sldId="2147377031"/>
            <ac:grpSpMk id="6" creationId="{CFDB2B4B-0884-402C-AD3F-A97DE4CCD0C1}"/>
          </ac:grpSpMkLst>
        </pc:grpChg>
        <pc:picChg chg="mod">
          <ac:chgData name="Kamath, Amitha" userId="c3525f0c-0cc9-4f43-aa0c-c729584a25e9" providerId="ADAL" clId="{D36C4F76-2A40-446B-AAFE-78B3D529E062}" dt="2022-11-16T01:35:24.638" v="792" actId="1038"/>
          <ac:picMkLst>
            <pc:docMk/>
            <pc:sldMk cId="2666079488" sldId="2147377031"/>
            <ac:picMk id="5" creationId="{9A7E2B91-4D59-450C-A0EC-5DCE1050CF0F}"/>
          </ac:picMkLst>
        </pc:picChg>
        <pc:picChg chg="del">
          <ac:chgData name="Kamath, Amitha" userId="c3525f0c-0cc9-4f43-aa0c-c729584a25e9" providerId="ADAL" clId="{D36C4F76-2A40-446B-AAFE-78B3D529E062}" dt="2022-11-16T01:35:03.654" v="778" actId="478"/>
          <ac:picMkLst>
            <pc:docMk/>
            <pc:sldMk cId="2666079488" sldId="2147377031"/>
            <ac:picMk id="20" creationId="{A92D5FCC-4E68-4354-9422-3BB8A099FA93}"/>
          </ac:picMkLst>
        </pc:picChg>
        <pc:picChg chg="mod">
          <ac:chgData name="Kamath, Amitha" userId="c3525f0c-0cc9-4f43-aa0c-c729584a25e9" providerId="ADAL" clId="{D36C4F76-2A40-446B-AAFE-78B3D529E062}" dt="2022-11-16T01:35:24.638" v="792" actId="1038"/>
          <ac:picMkLst>
            <pc:docMk/>
            <pc:sldMk cId="2666079488" sldId="2147377031"/>
            <ac:picMk id="59" creationId="{ACD87257-3AC9-4D55-AFD0-4C140D4680EA}"/>
          </ac:picMkLst>
        </pc:picChg>
        <pc:picChg chg="mod">
          <ac:chgData name="Kamath, Amitha" userId="c3525f0c-0cc9-4f43-aa0c-c729584a25e9" providerId="ADAL" clId="{D36C4F76-2A40-446B-AAFE-78B3D529E062}" dt="2022-11-16T01:35:24.638" v="792" actId="1038"/>
          <ac:picMkLst>
            <pc:docMk/>
            <pc:sldMk cId="2666079488" sldId="2147377031"/>
            <ac:picMk id="60" creationId="{DFAAB51C-9D92-4079-9563-9DBD14BF27EB}"/>
          </ac:picMkLst>
        </pc:picChg>
        <pc:picChg chg="mod">
          <ac:chgData name="Kamath, Amitha" userId="c3525f0c-0cc9-4f43-aa0c-c729584a25e9" providerId="ADAL" clId="{D36C4F76-2A40-446B-AAFE-78B3D529E062}" dt="2022-11-16T01:35:24.638" v="792" actId="1038"/>
          <ac:picMkLst>
            <pc:docMk/>
            <pc:sldMk cId="2666079488" sldId="2147377031"/>
            <ac:picMk id="89" creationId="{52027207-9CA2-4467-A3AC-17D7A4A83861}"/>
          </ac:picMkLst>
        </pc:picChg>
        <pc:cxnChg chg="mod">
          <ac:chgData name="Kamath, Amitha" userId="c3525f0c-0cc9-4f43-aa0c-c729584a25e9" providerId="ADAL" clId="{D36C4F76-2A40-446B-AAFE-78B3D529E062}" dt="2022-11-12T15:45:55.875" v="24" actId="1036"/>
          <ac:cxnSpMkLst>
            <pc:docMk/>
            <pc:sldMk cId="2666079488" sldId="2147377031"/>
            <ac:cxnSpMk id="15" creationId="{D115D3EB-0A68-40B8-B7DB-E2BF5513DE00}"/>
          </ac:cxnSpMkLst>
        </pc:cxnChg>
        <pc:cxnChg chg="mod">
          <ac:chgData name="Kamath, Amitha" userId="c3525f0c-0cc9-4f43-aa0c-c729584a25e9" providerId="ADAL" clId="{D36C4F76-2A40-446B-AAFE-78B3D529E062}" dt="2022-11-12T15:45:55.875" v="24" actId="1036"/>
          <ac:cxnSpMkLst>
            <pc:docMk/>
            <pc:sldMk cId="2666079488" sldId="2147377031"/>
            <ac:cxnSpMk id="78" creationId="{68CAD7E1-6B6E-404A-A3B0-1E5F19F0AD2E}"/>
          </ac:cxnSpMkLst>
        </pc:cxnChg>
      </pc:sldChg>
      <pc:sldChg chg="add del">
        <pc:chgData name="Kamath, Amitha" userId="c3525f0c-0cc9-4f43-aa0c-c729584a25e9" providerId="ADAL" clId="{D36C4F76-2A40-446B-AAFE-78B3D529E062}" dt="2022-11-16T01:28:27.101" v="535" actId="2890"/>
        <pc:sldMkLst>
          <pc:docMk/>
          <pc:sldMk cId="1959823160" sldId="2147377033"/>
        </pc:sldMkLst>
      </pc:sldChg>
      <pc:sldChg chg="addSp delSp modSp add mod ord delAnim modAnim">
        <pc:chgData name="Kamath, Amitha" userId="c3525f0c-0cc9-4f43-aa0c-c729584a25e9" providerId="ADAL" clId="{D36C4F76-2A40-446B-AAFE-78B3D529E062}" dt="2022-11-16T02:01:15.028" v="1168"/>
        <pc:sldMkLst>
          <pc:docMk/>
          <pc:sldMk cId="4018931925" sldId="2147377033"/>
        </pc:sldMkLst>
        <pc:spChg chg="mod">
          <ac:chgData name="Kamath, Amitha" userId="c3525f0c-0cc9-4f43-aa0c-c729584a25e9" providerId="ADAL" clId="{D36C4F76-2A40-446B-AAFE-78B3D529E062}" dt="2022-11-16T01:47:55.103" v="896"/>
          <ac:spMkLst>
            <pc:docMk/>
            <pc:sldMk cId="4018931925" sldId="2147377033"/>
            <ac:spMk id="3" creationId="{E585AD54-3A0E-46ED-8352-E98854B246C6}"/>
          </ac:spMkLst>
        </pc:spChg>
        <pc:spChg chg="del mod">
          <ac:chgData name="Kamath, Amitha" userId="c3525f0c-0cc9-4f43-aa0c-c729584a25e9" providerId="ADAL" clId="{D36C4F76-2A40-446B-AAFE-78B3D529E062}" dt="2022-11-16T01:28:53.010" v="545" actId="478"/>
          <ac:spMkLst>
            <pc:docMk/>
            <pc:sldMk cId="4018931925" sldId="2147377033"/>
            <ac:spMk id="4" creationId="{4D75B06A-C3CA-4BC0-BD30-726B84901B10}"/>
          </ac:spMkLst>
        </pc:spChg>
        <pc:spChg chg="add mod">
          <ac:chgData name="Kamath, Amitha" userId="c3525f0c-0cc9-4f43-aa0c-c729584a25e9" providerId="ADAL" clId="{D36C4F76-2A40-446B-AAFE-78B3D529E062}" dt="2022-11-16T01:42:34.828" v="871" actId="20577"/>
          <ac:spMkLst>
            <pc:docMk/>
            <pc:sldMk cId="4018931925" sldId="2147377033"/>
            <ac:spMk id="8" creationId="{4831808A-0FA4-4202-A79B-DDC43F3AC715}"/>
          </ac:spMkLst>
        </pc:spChg>
        <pc:spChg chg="topLvl">
          <ac:chgData name="Kamath, Amitha" userId="c3525f0c-0cc9-4f43-aa0c-c729584a25e9" providerId="ADAL" clId="{D36C4F76-2A40-446B-AAFE-78B3D529E062}" dt="2022-11-16T01:49:38.006" v="908" actId="478"/>
          <ac:spMkLst>
            <pc:docMk/>
            <pc:sldMk cId="4018931925" sldId="2147377033"/>
            <ac:spMk id="13" creationId="{00000000-0000-0000-0000-000000000000}"/>
          </ac:spMkLst>
        </pc:spChg>
        <pc:spChg chg="del mod topLvl">
          <ac:chgData name="Kamath, Amitha" userId="c3525f0c-0cc9-4f43-aa0c-c729584a25e9" providerId="ADAL" clId="{D36C4F76-2A40-446B-AAFE-78B3D529E062}" dt="2022-11-16T01:49:38.006" v="908" actId="478"/>
          <ac:spMkLst>
            <pc:docMk/>
            <pc:sldMk cId="4018931925" sldId="2147377033"/>
            <ac:spMk id="14" creationId="{00000000-0000-0000-0000-000000000000}"/>
          </ac:spMkLst>
        </pc:spChg>
        <pc:spChg chg="add del">
          <ac:chgData name="Kamath, Amitha" userId="c3525f0c-0cc9-4f43-aa0c-c729584a25e9" providerId="ADAL" clId="{D36C4F76-2A40-446B-AAFE-78B3D529E062}" dt="2022-11-16T01:48:18.944" v="898" actId="478"/>
          <ac:spMkLst>
            <pc:docMk/>
            <pc:sldMk cId="4018931925" sldId="2147377033"/>
            <ac:spMk id="15" creationId="{B763BF30-E36C-475E-A914-B14802799D39}"/>
          </ac:spMkLst>
        </pc:spChg>
        <pc:spChg chg="add del mod">
          <ac:chgData name="Kamath, Amitha" userId="c3525f0c-0cc9-4f43-aa0c-c729584a25e9" providerId="ADAL" clId="{D36C4F76-2A40-446B-AAFE-78B3D529E062}" dt="2022-11-16T01:51:04.668" v="936" actId="478"/>
          <ac:spMkLst>
            <pc:docMk/>
            <pc:sldMk cId="4018931925" sldId="2147377033"/>
            <ac:spMk id="18" creationId="{8836A27A-0EC0-4603-8185-CD4C7535A9A7}"/>
          </ac:spMkLst>
        </pc:spChg>
        <pc:spChg chg="add del mod">
          <ac:chgData name="Kamath, Amitha" userId="c3525f0c-0cc9-4f43-aa0c-c729584a25e9" providerId="ADAL" clId="{D36C4F76-2A40-446B-AAFE-78B3D529E062}" dt="2022-11-16T01:51:07.505" v="937" actId="478"/>
          <ac:spMkLst>
            <pc:docMk/>
            <pc:sldMk cId="4018931925" sldId="2147377033"/>
            <ac:spMk id="19" creationId="{EE3921DB-9072-466D-9F59-EB18B9ABF21B}"/>
          </ac:spMkLst>
        </pc:spChg>
        <pc:spChg chg="mod">
          <ac:chgData name="Kamath, Amitha" userId="c3525f0c-0cc9-4f43-aa0c-c729584a25e9" providerId="ADAL" clId="{D36C4F76-2A40-446B-AAFE-78B3D529E062}" dt="2022-11-16T01:29:18.219" v="641" actId="1038"/>
          <ac:spMkLst>
            <pc:docMk/>
            <pc:sldMk cId="4018931925" sldId="2147377033"/>
            <ac:spMk id="31" creationId="{00000000-0000-0000-0000-000000000000}"/>
          </ac:spMkLst>
        </pc:spChg>
        <pc:spChg chg="mod">
          <ac:chgData name="Kamath, Amitha" userId="c3525f0c-0cc9-4f43-aa0c-c729584a25e9" providerId="ADAL" clId="{D36C4F76-2A40-446B-AAFE-78B3D529E062}" dt="2022-11-16T01:29:18.219" v="641" actId="1038"/>
          <ac:spMkLst>
            <pc:docMk/>
            <pc:sldMk cId="4018931925" sldId="2147377033"/>
            <ac:spMk id="32" creationId="{D6BD32C1-721C-47DF-B4D1-6D0A79B08EA3}"/>
          </ac:spMkLst>
        </pc:spChg>
        <pc:spChg chg="mod">
          <ac:chgData name="Kamath, Amitha" userId="c3525f0c-0cc9-4f43-aa0c-c729584a25e9" providerId="ADAL" clId="{D36C4F76-2A40-446B-AAFE-78B3D529E062}" dt="2022-11-16T01:29:18.219" v="641" actId="1038"/>
          <ac:spMkLst>
            <pc:docMk/>
            <pc:sldMk cId="4018931925" sldId="2147377033"/>
            <ac:spMk id="33" creationId="{C2914B4E-247C-4D6C-B4BA-9176D52754F5}"/>
          </ac:spMkLst>
        </pc:spChg>
        <pc:spChg chg="mod topLvl">
          <ac:chgData name="Kamath, Amitha" userId="c3525f0c-0cc9-4f43-aa0c-c729584a25e9" providerId="ADAL" clId="{D36C4F76-2A40-446B-AAFE-78B3D529E062}" dt="2022-11-16T01:34:05.429" v="756" actId="6549"/>
          <ac:spMkLst>
            <pc:docMk/>
            <pc:sldMk cId="4018931925" sldId="2147377033"/>
            <ac:spMk id="35" creationId="{9359305F-DA17-40AB-AB73-CB690B353F9D}"/>
          </ac:spMkLst>
        </pc:spChg>
        <pc:spChg chg="del mod topLvl">
          <ac:chgData name="Kamath, Amitha" userId="c3525f0c-0cc9-4f43-aa0c-c729584a25e9" providerId="ADAL" clId="{D36C4F76-2A40-446B-AAFE-78B3D529E062}" dt="2022-11-16T01:29:23.056" v="642" actId="478"/>
          <ac:spMkLst>
            <pc:docMk/>
            <pc:sldMk cId="4018931925" sldId="2147377033"/>
            <ac:spMk id="36" creationId="{917119EE-02AC-46B0-85AC-5B571E59FEE9}"/>
          </ac:spMkLst>
        </pc:spChg>
        <pc:spChg chg="add mod">
          <ac:chgData name="Kamath, Amitha" userId="c3525f0c-0cc9-4f43-aa0c-c729584a25e9" providerId="ADAL" clId="{D36C4F76-2A40-446B-AAFE-78B3D529E062}" dt="2022-11-16T01:51:42.146" v="954" actId="20577"/>
          <ac:spMkLst>
            <pc:docMk/>
            <pc:sldMk cId="4018931925" sldId="2147377033"/>
            <ac:spMk id="45" creationId="{BCC7DA79-9B5B-4D2A-BE2B-66061BAC999C}"/>
          </ac:spMkLst>
        </pc:spChg>
        <pc:spChg chg="mod">
          <ac:chgData name="Kamath, Amitha" userId="c3525f0c-0cc9-4f43-aa0c-c729584a25e9" providerId="ADAL" clId="{D36C4F76-2A40-446B-AAFE-78B3D529E062}" dt="2022-11-16T01:29:18.219" v="641" actId="1038"/>
          <ac:spMkLst>
            <pc:docMk/>
            <pc:sldMk cId="4018931925" sldId="2147377033"/>
            <ac:spMk id="46" creationId="{00000000-0000-0000-0000-000000000000}"/>
          </ac:spMkLst>
        </pc:spChg>
        <pc:spChg chg="add del mod">
          <ac:chgData name="Kamath, Amitha" userId="c3525f0c-0cc9-4f43-aa0c-c729584a25e9" providerId="ADAL" clId="{D36C4F76-2A40-446B-AAFE-78B3D529E062}" dt="2022-11-16T01:51:15.469" v="941" actId="478"/>
          <ac:spMkLst>
            <pc:docMk/>
            <pc:sldMk cId="4018931925" sldId="2147377033"/>
            <ac:spMk id="47" creationId="{C440C2C3-2427-47FC-9CAA-580D68B77C7B}"/>
          </ac:spMkLst>
        </pc:spChg>
        <pc:spChg chg="add del mod">
          <ac:chgData name="Kamath, Amitha" userId="c3525f0c-0cc9-4f43-aa0c-c729584a25e9" providerId="ADAL" clId="{D36C4F76-2A40-446B-AAFE-78B3D529E062}" dt="2022-11-16T01:51:26.569" v="944" actId="478"/>
          <ac:spMkLst>
            <pc:docMk/>
            <pc:sldMk cId="4018931925" sldId="2147377033"/>
            <ac:spMk id="48" creationId="{1C892664-61C2-4D8B-AA02-DF014DAFD241}"/>
          </ac:spMkLst>
        </pc:spChg>
        <pc:spChg chg="add del mod">
          <ac:chgData name="Kamath, Amitha" userId="c3525f0c-0cc9-4f43-aa0c-c729584a25e9" providerId="ADAL" clId="{D36C4F76-2A40-446B-AAFE-78B3D529E062}" dt="2022-11-16T01:51:21.076" v="942" actId="478"/>
          <ac:spMkLst>
            <pc:docMk/>
            <pc:sldMk cId="4018931925" sldId="2147377033"/>
            <ac:spMk id="49" creationId="{31491584-6227-43D2-A671-751E4AA45819}"/>
          </ac:spMkLst>
        </pc:spChg>
        <pc:spChg chg="add del mod">
          <ac:chgData name="Kamath, Amitha" userId="c3525f0c-0cc9-4f43-aa0c-c729584a25e9" providerId="ADAL" clId="{D36C4F76-2A40-446B-AAFE-78B3D529E062}" dt="2022-11-16T01:51:23.941" v="943" actId="478"/>
          <ac:spMkLst>
            <pc:docMk/>
            <pc:sldMk cId="4018931925" sldId="2147377033"/>
            <ac:spMk id="50" creationId="{A9F3FFD5-5094-40B9-B44C-F52A6937C181}"/>
          </ac:spMkLst>
        </pc:spChg>
        <pc:spChg chg="mod">
          <ac:chgData name="Kamath, Amitha" userId="c3525f0c-0cc9-4f43-aa0c-c729584a25e9" providerId="ADAL" clId="{D36C4F76-2A40-446B-AAFE-78B3D529E062}" dt="2022-11-16T01:29:18.219" v="641" actId="1038"/>
          <ac:spMkLst>
            <pc:docMk/>
            <pc:sldMk cId="4018931925" sldId="2147377033"/>
            <ac:spMk id="54" creationId="{00000000-0000-0000-0000-000000000000}"/>
          </ac:spMkLst>
        </pc:spChg>
        <pc:spChg chg="add del mod">
          <ac:chgData name="Kamath, Amitha" userId="c3525f0c-0cc9-4f43-aa0c-c729584a25e9" providerId="ADAL" clId="{D36C4F76-2A40-446B-AAFE-78B3D529E062}" dt="2022-11-16T01:51:12.040" v="940" actId="478"/>
          <ac:spMkLst>
            <pc:docMk/>
            <pc:sldMk cId="4018931925" sldId="2147377033"/>
            <ac:spMk id="55" creationId="{B21591EA-0D19-4E39-A326-EB79366A35DD}"/>
          </ac:spMkLst>
        </pc:spChg>
        <pc:spChg chg="mod">
          <ac:chgData name="Kamath, Amitha" userId="c3525f0c-0cc9-4f43-aa0c-c729584a25e9" providerId="ADAL" clId="{D36C4F76-2A40-446B-AAFE-78B3D529E062}" dt="2022-11-16T01:33:01.340" v="733" actId="1076"/>
          <ac:spMkLst>
            <pc:docMk/>
            <pc:sldMk cId="4018931925" sldId="2147377033"/>
            <ac:spMk id="56" creationId="{9571E01D-11F1-4B29-802A-2E5DD6FC8B36}"/>
          </ac:spMkLst>
        </pc:spChg>
        <pc:spChg chg="mod">
          <ac:chgData name="Kamath, Amitha" userId="c3525f0c-0cc9-4f43-aa0c-c729584a25e9" providerId="ADAL" clId="{D36C4F76-2A40-446B-AAFE-78B3D529E062}" dt="2022-11-16T01:29:18.219" v="641" actId="1038"/>
          <ac:spMkLst>
            <pc:docMk/>
            <pc:sldMk cId="4018931925" sldId="2147377033"/>
            <ac:spMk id="67" creationId="{00000000-0000-0000-0000-000000000000}"/>
          </ac:spMkLst>
        </pc:spChg>
        <pc:spChg chg="mod">
          <ac:chgData name="Kamath, Amitha" userId="c3525f0c-0cc9-4f43-aa0c-c729584a25e9" providerId="ADAL" clId="{D36C4F76-2A40-446B-AAFE-78B3D529E062}" dt="2022-11-16T01:34:41.582" v="776" actId="1076"/>
          <ac:spMkLst>
            <pc:docMk/>
            <pc:sldMk cId="4018931925" sldId="2147377033"/>
            <ac:spMk id="70" creationId="{00000000-0000-0000-0000-000000000000}"/>
          </ac:spMkLst>
        </pc:spChg>
        <pc:grpChg chg="del">
          <ac:chgData name="Kamath, Amitha" userId="c3525f0c-0cc9-4f43-aa0c-c729584a25e9" providerId="ADAL" clId="{D36C4F76-2A40-446B-AAFE-78B3D529E062}" dt="2022-11-16T01:28:48.298" v="544" actId="478"/>
          <ac:grpSpMkLst>
            <pc:docMk/>
            <pc:sldMk cId="4018931925" sldId="2147377033"/>
            <ac:grpSpMk id="21" creationId="{00000000-0000-0000-0000-000000000000}"/>
          </ac:grpSpMkLst>
        </pc:grpChg>
        <pc:grpChg chg="add del mod">
          <ac:chgData name="Kamath, Amitha" userId="c3525f0c-0cc9-4f43-aa0c-c729584a25e9" providerId="ADAL" clId="{D36C4F76-2A40-446B-AAFE-78B3D529E062}" dt="2022-11-16T01:29:23.056" v="642" actId="478"/>
          <ac:grpSpMkLst>
            <pc:docMk/>
            <pc:sldMk cId="4018931925" sldId="2147377033"/>
            <ac:grpSpMk id="34" creationId="{A6821892-DDAF-415A-A274-183CB373B736}"/>
          </ac:grpSpMkLst>
        </pc:grpChg>
        <pc:grpChg chg="del mod">
          <ac:chgData name="Kamath, Amitha" userId="c3525f0c-0cc9-4f43-aa0c-c729584a25e9" providerId="ADAL" clId="{D36C4F76-2A40-446B-AAFE-78B3D529E062}" dt="2022-11-16T01:28:42.769" v="542" actId="478"/>
          <ac:grpSpMkLst>
            <pc:docMk/>
            <pc:sldMk cId="4018931925" sldId="2147377033"/>
            <ac:grpSpMk id="37" creationId="{9B85F259-F89C-46B7-B279-D041CCFB0002}"/>
          </ac:grpSpMkLst>
        </pc:grpChg>
        <pc:grpChg chg="del mod">
          <ac:chgData name="Kamath, Amitha" userId="c3525f0c-0cc9-4f43-aa0c-c729584a25e9" providerId="ADAL" clId="{D36C4F76-2A40-446B-AAFE-78B3D529E062}" dt="2022-11-16T01:49:38.006" v="908" actId="478"/>
          <ac:grpSpMkLst>
            <pc:docMk/>
            <pc:sldMk cId="4018931925" sldId="2147377033"/>
            <ac:grpSpMk id="53" creationId="{00000000-0000-0000-0000-000000000000}"/>
          </ac:grpSpMkLst>
        </pc:grpChg>
        <pc:cxnChg chg="del mod">
          <ac:chgData name="Kamath, Amitha" userId="c3525f0c-0cc9-4f43-aa0c-c729584a25e9" providerId="ADAL" clId="{D36C4F76-2A40-446B-AAFE-78B3D529E062}" dt="2022-11-16T01:28:48.298" v="544" actId="478"/>
          <ac:cxnSpMkLst>
            <pc:docMk/>
            <pc:sldMk cId="4018931925" sldId="2147377033"/>
            <ac:cxnSpMk id="16" creationId="{00000000-0000-0000-0000-000000000000}"/>
          </ac:cxnSpMkLst>
        </pc:cxnChg>
        <pc:cxnChg chg="del mod">
          <ac:chgData name="Kamath, Amitha" userId="c3525f0c-0cc9-4f43-aa0c-c729584a25e9" providerId="ADAL" clId="{D36C4F76-2A40-446B-AAFE-78B3D529E062}" dt="2022-11-16T01:28:48.298" v="544" actId="478"/>
          <ac:cxnSpMkLst>
            <pc:docMk/>
            <pc:sldMk cId="4018931925" sldId="2147377033"/>
            <ac:cxnSpMk id="17" creationId="{00000000-0000-0000-0000-000000000000}"/>
          </ac:cxnSpMkLst>
        </pc:cxnChg>
        <pc:cxnChg chg="mod">
          <ac:chgData name="Kamath, Amitha" userId="c3525f0c-0cc9-4f43-aa0c-c729584a25e9" providerId="ADAL" clId="{D36C4F76-2A40-446B-AAFE-78B3D529E062}" dt="2022-11-16T01:32:49.332" v="731" actId="1076"/>
          <ac:cxnSpMkLst>
            <pc:docMk/>
            <pc:sldMk cId="4018931925" sldId="2147377033"/>
            <ac:cxnSpMk id="28" creationId="{CF466959-00F0-41B6-A300-C1E7009A4141}"/>
          </ac:cxnSpMkLst>
        </pc:cxnChg>
        <pc:cxnChg chg="mod">
          <ac:chgData name="Kamath, Amitha" userId="c3525f0c-0cc9-4f43-aa0c-c729584a25e9" providerId="ADAL" clId="{D36C4F76-2A40-446B-AAFE-78B3D529E062}" dt="2022-11-16T01:33:45.416" v="736" actId="14100"/>
          <ac:cxnSpMkLst>
            <pc:docMk/>
            <pc:sldMk cId="4018931925" sldId="2147377033"/>
            <ac:cxnSpMk id="43" creationId="{00000000-0000-0000-0000-000000000000}"/>
          </ac:cxnSpMkLst>
        </pc:cxnChg>
        <pc:cxnChg chg="add mod">
          <ac:chgData name="Kamath, Amitha" userId="c3525f0c-0cc9-4f43-aa0c-c729584a25e9" providerId="ADAL" clId="{D36C4F76-2A40-446B-AAFE-78B3D529E062}" dt="2022-11-16T01:33:40.285" v="735" actId="14100"/>
          <ac:cxnSpMkLst>
            <pc:docMk/>
            <pc:sldMk cId="4018931925" sldId="2147377033"/>
            <ac:cxnSpMk id="44" creationId="{DD43FB70-04EF-477D-A887-D5C3CFA24BC3}"/>
          </ac:cxnSpMkLst>
        </pc:cxnChg>
        <pc:cxnChg chg="mod">
          <ac:chgData name="Kamath, Amitha" userId="c3525f0c-0cc9-4f43-aa0c-c729584a25e9" providerId="ADAL" clId="{D36C4F76-2A40-446B-AAFE-78B3D529E062}" dt="2022-11-16T01:34:19.219" v="763" actId="1076"/>
          <ac:cxnSpMkLst>
            <pc:docMk/>
            <pc:sldMk cId="4018931925" sldId="2147377033"/>
            <ac:cxnSpMk id="62" creationId="{00000000-0000-0000-0000-000000000000}"/>
          </ac:cxnSpMkLst>
        </pc:cxnChg>
      </pc:sldChg>
      <pc:sldChg chg="modSp add mod modAnim">
        <pc:chgData name="Kamath, Amitha" userId="c3525f0c-0cc9-4f43-aa0c-c729584a25e9" providerId="ADAL" clId="{D36C4F76-2A40-446B-AAFE-78B3D529E062}" dt="2022-11-16T02:01:22.445" v="1175"/>
        <pc:sldMkLst>
          <pc:docMk/>
          <pc:sldMk cId="1358552419" sldId="2147377034"/>
        </pc:sldMkLst>
        <pc:spChg chg="mod">
          <ac:chgData name="Kamath, Amitha" userId="c3525f0c-0cc9-4f43-aa0c-c729584a25e9" providerId="ADAL" clId="{D36C4F76-2A40-446B-AAFE-78B3D529E062}" dt="2022-11-16T01:52:06.933" v="962" actId="20577"/>
          <ac:spMkLst>
            <pc:docMk/>
            <pc:sldMk cId="1358552419" sldId="2147377034"/>
            <ac:spMk id="45" creationId="{BCC7DA79-9B5B-4D2A-BE2B-66061BAC999C}"/>
          </ac:spMkLst>
        </pc:spChg>
      </pc:sldChg>
      <pc:sldMasterChg chg="delSldLayout modSldLayout">
        <pc:chgData name="Kamath, Amitha" userId="c3525f0c-0cc9-4f43-aa0c-c729584a25e9" providerId="ADAL" clId="{D36C4F76-2A40-446B-AAFE-78B3D529E062}" dt="2022-11-16T02:00:11.446" v="1148" actId="1076"/>
        <pc:sldMasterMkLst>
          <pc:docMk/>
          <pc:sldMasterMk cId="3408294523" sldId="2147483733"/>
        </pc:sldMasterMkLst>
        <pc:sldLayoutChg chg="modSp mod">
          <pc:chgData name="Kamath, Amitha" userId="c3525f0c-0cc9-4f43-aa0c-c729584a25e9" providerId="ADAL" clId="{D36C4F76-2A40-446B-AAFE-78B3D529E062}" dt="2022-11-16T02:00:11.446" v="1148" actId="1076"/>
          <pc:sldLayoutMkLst>
            <pc:docMk/>
            <pc:sldMasterMk cId="3408294523" sldId="2147483733"/>
            <pc:sldLayoutMk cId="781090314" sldId="2147483740"/>
          </pc:sldLayoutMkLst>
          <pc:spChg chg="mod">
            <ac:chgData name="Kamath, Amitha" userId="c3525f0c-0cc9-4f43-aa0c-c729584a25e9" providerId="ADAL" clId="{D36C4F76-2A40-446B-AAFE-78B3D529E062}" dt="2022-11-16T02:00:11.446" v="1148" actId="1076"/>
            <ac:spMkLst>
              <pc:docMk/>
              <pc:sldMasterMk cId="3408294523" sldId="2147483733"/>
              <pc:sldLayoutMk cId="781090314" sldId="2147483740"/>
              <ac:spMk id="2" creationId="{5B62EF80-ED78-484B-AC34-B314C73F9091}"/>
            </ac:spMkLst>
          </pc:spChg>
        </pc:sldLayoutChg>
        <pc:sldLayoutChg chg="del">
          <pc:chgData name="Kamath, Amitha" userId="c3525f0c-0cc9-4f43-aa0c-c729584a25e9" providerId="ADAL" clId="{D36C4F76-2A40-446B-AAFE-78B3D529E062}" dt="2022-11-16T01:59:11.626" v="1144" actId="47"/>
          <pc:sldLayoutMkLst>
            <pc:docMk/>
            <pc:sldMasterMk cId="3408294523" sldId="2147483733"/>
            <pc:sldLayoutMk cId="2946912006" sldId="2147483840"/>
          </pc:sldLayoutMkLst>
        </pc:sldLayoutChg>
      </pc:sldMasterChg>
      <pc:sldMasterChg chg="modSldLayout">
        <pc:chgData name="Kamath, Amitha" userId="c3525f0c-0cc9-4f43-aa0c-c729584a25e9" providerId="ADAL" clId="{D36C4F76-2A40-446B-AAFE-78B3D529E062}" dt="2022-11-16T01:59:44.887" v="1146" actId="255"/>
        <pc:sldMasterMkLst>
          <pc:docMk/>
          <pc:sldMasterMk cId="4060171791" sldId="2147483817"/>
        </pc:sldMasterMkLst>
        <pc:sldLayoutChg chg="modSp mod">
          <pc:chgData name="Kamath, Amitha" userId="c3525f0c-0cc9-4f43-aa0c-c729584a25e9" providerId="ADAL" clId="{D36C4F76-2A40-446B-AAFE-78B3D529E062}" dt="2022-11-16T01:59:44.887" v="1146" actId="255"/>
          <pc:sldLayoutMkLst>
            <pc:docMk/>
            <pc:sldMasterMk cId="4060171791" sldId="2147483817"/>
            <pc:sldLayoutMk cId="4182875418" sldId="2147483838"/>
          </pc:sldLayoutMkLst>
          <pc:spChg chg="mod">
            <ac:chgData name="Kamath, Amitha" userId="c3525f0c-0cc9-4f43-aa0c-c729584a25e9" providerId="ADAL" clId="{D36C4F76-2A40-446B-AAFE-78B3D529E062}" dt="2022-11-16T01:59:44.887" v="1146" actId="255"/>
            <ac:spMkLst>
              <pc:docMk/>
              <pc:sldMasterMk cId="4060171791" sldId="2147483817"/>
              <pc:sldLayoutMk cId="4182875418" sldId="2147483838"/>
              <ac:spMk id="13" creationId="{2E5C152E-1B2C-2848-9A5B-C013FDF4DF21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/>
              <a:pPr algn="ctr"/>
              <a:t>‹#›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/>
            </a:lvl1pPr>
          </a:lstStyle>
          <a:p>
            <a:fld id="{7D8C2C35-2B8A-446E-BEC0-FD36716C29A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learning.sap.com/teched" TargetMode="Externa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10651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Here are some great learning offerings to compliment your conference.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You can prepare for a certification in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 development roles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 with free SAP Learning Journeys and live learning sessions led by SAP experts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Save with an exclusive SAP TechEd certification offer that came in your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 SAP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 TechEd registration email</a:t>
            </a:r>
          </a:p>
          <a:p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Connect with the experts, expand your network, and share your knowledge and experiences with others in the SAP Community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And network in a moderated SAP Learning Group to get your learning questions answered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 </a:t>
            </a: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Find all the great content at </a:t>
            </a:r>
            <a:r>
              <a:rPr lang="en-US" sz="1800" u="sng">
                <a:solidFill>
                  <a:srgbClr val="0563C1"/>
                </a:solidFill>
                <a:effectLst/>
                <a:latin typeface="Calibri"/>
                <a:ea typeface="Calibri" panose="020F0502020204030204" pitchFamily="34" charset="0"/>
                <a:cs typeface="Calibri"/>
                <a:hlinkClick r:id="rId3"/>
              </a:rPr>
              <a:t>learning.sap.com/teched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21946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547688" y="612775"/>
            <a:ext cx="5762625" cy="3241675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6219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43009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7722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91304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4695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26630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2104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0972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6671169" name="SAP Logo Placeholder" descr="{&quot;templafy&quot;:{&quot;id&quot;:&quot;402c8ce8-a81b-4048-8a0c-cee33fc6797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-1"/>
            <a:ext cx="12195175" cy="3430800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TextBox 9" descr="{&quot;templafy&quot;:{&quot;id&quot;:&quot;6629b764-d54b-4b26-b57c-ab43c5653963&quot;}}">
            <a:extLst>
              <a:ext uri="{FF2B5EF4-FFF2-40B4-BE49-F238E27FC236}">
                <a16:creationId xmlns:a16="http://schemas.microsoft.com/office/drawing/2014/main" id="{798F9B08-2B9F-444B-8020-ACD960A0FAE7}"/>
              </a:ext>
            </a:extLst>
          </p:cNvPr>
          <p:cNvSpPr txBox="1"/>
          <p:nvPr userDrawn="1"/>
        </p:nvSpPr>
        <p:spPr>
          <a:xfrm>
            <a:off x="282575" y="5725533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pic>
        <p:nvPicPr>
          <p:cNvPr id="25211465" name="Acquired Company Logo Placeholder" descr="{&quot;templafy&quot;:{&quot;id&quot;:&quot;39d55afe-04d6-4233-bda9-8cfb0d3f696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3590141"/>
            <a:ext cx="4125924" cy="266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717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 userDrawn="1">
          <p15:clr>
            <a:srgbClr val="FBAE40"/>
          </p15:clr>
        </p15:guide>
        <p15:guide id="2" orient="horz" pos="4144" userDrawn="1">
          <p15:clr>
            <a:srgbClr val="FBAE40"/>
          </p15:clr>
        </p15:guide>
        <p15:guide id="3" orient="horz" pos="2162" userDrawn="1">
          <p15:clr>
            <a:srgbClr val="FBAE40"/>
          </p15:clr>
        </p15:guide>
        <p15:guide id="4" pos="181" userDrawn="1">
          <p15:clr>
            <a:srgbClr val="FBAE40"/>
          </p15:clr>
        </p15:guide>
        <p15:guide id="5" orient="horz" pos="2534" userDrawn="1">
          <p15:clr>
            <a:srgbClr val="FBAE40"/>
          </p15:clr>
        </p15:guide>
        <p15:guide id="6" orient="horz" pos="3164" userDrawn="1">
          <p15:clr>
            <a:srgbClr val="FBAE40"/>
          </p15:clr>
        </p15:guide>
        <p15:guide id="7" orient="horz" pos="3232" userDrawn="1">
          <p15:clr>
            <a:srgbClr val="FBAE40"/>
          </p15:clr>
        </p15:guide>
        <p15:guide id="8" orient="horz" pos="35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1020" userDrawn="1">
          <p15:clr>
            <a:srgbClr val="FBAE40"/>
          </p15:clr>
        </p15:guide>
        <p15:guide id="10" orient="horz" pos="399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0" userDrawn="1">
          <p15:clr>
            <a:srgbClr val="FBAE40"/>
          </p15:clr>
        </p15:guide>
        <p15:guide id="5" orient="horz" pos="2678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1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1020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1" userDrawn="1">
          <p15:clr>
            <a:srgbClr val="FBAE40"/>
          </p15:clr>
        </p15:guide>
        <p15:guide id="5" orient="horz" pos="211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620000"/>
            <a:ext cx="7092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9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10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620000"/>
            <a:ext cx="5328000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1020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620000"/>
            <a:ext cx="11185200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0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50198195" name="SAP Logo Placeholder" descr="{&quot;templafy&quot;:{&quot;id&quot;:&quot;03c2cf17-0e91-4b98-9cd7-780b9713135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0" name="Partner Logo Placeholder">
            <a:extLst>
              <a:ext uri="{FF2B5EF4-FFF2-40B4-BE49-F238E27FC236}">
                <a16:creationId xmlns:a16="http://schemas.microsoft.com/office/drawing/2014/main" id="{DA90C4E7-C35C-564D-9269-70A29A50EBF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28820327" name="Acquired Company Logo Placeholder" descr="{&quot;templafy&quot;:{&quot;id&quot;:&quot;7a4a5237-4ac1-4ba5-87f6-3a6f6ea346e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11" name="TextBox 10" descr="{&quot;templafy&quot;:{&quot;id&quot;:&quot;c9374d9c-bc2f-4ea9-9d1f-fe5a9d37ced1&quot;}}">
            <a:extLst>
              <a:ext uri="{FF2B5EF4-FFF2-40B4-BE49-F238E27FC236}">
                <a16:creationId xmlns:a16="http://schemas.microsoft.com/office/drawing/2014/main" id="{AC53B201-90B9-4E7D-A16A-96A3B827889D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B62EF80-ED78-484B-AC34-B314C73F9091}"/>
              </a:ext>
            </a:extLst>
          </p:cNvPr>
          <p:cNvSpPr txBox="1"/>
          <p:nvPr userDrawn="1"/>
        </p:nvSpPr>
        <p:spPr>
          <a:xfrm>
            <a:off x="503238" y="1865861"/>
            <a:ext cx="439124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4800" b="1" kern="0" dirty="0"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pic>
        <p:nvPicPr>
          <p:cNvPr id="201229968" name="SAP Logo Placeholder" descr="{&quot;templafy&quot;:{&quot;id&quot;:&quot;ae45ed68-1fba-481a-9e2e-8199ba46a6fa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9760" y="5797296"/>
            <a:ext cx="2208436" cy="532020"/>
          </a:xfrm>
          <a:prstGeom prst="rect">
            <a:avLst/>
          </a:prstGeom>
        </p:spPr>
      </p:pic>
      <p:pic>
        <p:nvPicPr>
          <p:cNvPr id="525610049" name="Acquired Company Logo Placeholder" descr="{&quot;templafy&quot;:{&quot;id&quot;:&quot;804b0718-9d30-40d9-b880-804c2c6a8f91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00" y="522453"/>
            <a:ext cx="4125924" cy="26601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/>
              <a:t>Contact information:</a:t>
            </a:r>
          </a:p>
        </p:txBody>
      </p:sp>
      <p:sp>
        <p:nvSpPr>
          <p:cNvPr id="9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781090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24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&lt;Agenda&gt;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4000" y="1692001"/>
            <a:ext cx="11545200" cy="3831818"/>
          </a:xfrm>
        </p:spPr>
        <p:txBody>
          <a:bodyPr>
            <a:no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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 dirty="0"/>
              <a:t>Agenda Item/Divider Headline</a:t>
            </a:r>
          </a:p>
          <a:p>
            <a:pPr lvl="1"/>
            <a:r>
              <a:rPr lang="en-US" dirty="0"/>
              <a:t>Detail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767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9308523" name="SAP Logo Placeholder" descr="{&quot;templafy&quot;:{&quot;id&quot;:&quot;c48f26f3-9de5-454c-b9e3-1027bb29758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9" name="Partner Logo Placeholder">
            <a:extLst>
              <a:ext uri="{FF2B5EF4-FFF2-40B4-BE49-F238E27FC236}">
                <a16:creationId xmlns:a16="http://schemas.microsoft.com/office/drawing/2014/main" id="{19E8849E-429B-6042-8141-D50CA3A38A8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1628000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pic>
        <p:nvPicPr>
          <p:cNvPr id="580547484" name="Acquired Company Logo Placeholder" descr="{&quot;templafy&quot;:{&quot;id&quot;:&quot;efb4975c-edd3-4d8e-9801-9d8ad09e48ba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3564352"/>
            <a:ext cx="4125924" cy="266010"/>
          </a:xfrm>
          <a:prstGeom prst="rect">
            <a:avLst/>
          </a:prstGeom>
        </p:spPr>
      </p:pic>
      <p:sp>
        <p:nvSpPr>
          <p:cNvPr id="5" name="Title Image Placeholder" descr="Placeholder title image" title="Title image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0"/>
            <a:ext cx="12193200" cy="3430006"/>
          </a:xfrm>
          <a:noFill/>
        </p:spPr>
        <p:txBody>
          <a:bodyPr tIns="50400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title image or illustration</a:t>
            </a:r>
          </a:p>
        </p:txBody>
      </p:sp>
      <p:sp>
        <p:nvSpPr>
          <p:cNvPr id="12" name="TextBox 11" descr="{&quot;templafy&quot;:{&quot;id&quot;:&quot;839dfe1a-fefb-4712-b006-6ab74fa63a04&quot;}}">
            <a:extLst>
              <a:ext uri="{FF2B5EF4-FFF2-40B4-BE49-F238E27FC236}">
                <a16:creationId xmlns:a16="http://schemas.microsoft.com/office/drawing/2014/main" id="{EEC6D590-31F2-438D-89DB-EC6D9F68073A}"/>
              </a:ext>
            </a:extLst>
          </p:cNvPr>
          <p:cNvSpPr txBox="1"/>
          <p:nvPr userDrawn="1"/>
        </p:nvSpPr>
        <p:spPr>
          <a:xfrm>
            <a:off x="282575" y="5725533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4" name="TextBox 13" descr="{&quot;templafy&quot;:{&quot;id&quot;:&quot;729e91d1-99e8-4600-9712-f74a034a28fa&quot;}}">
            <a:extLst>
              <a:ext uri="{FF2B5EF4-FFF2-40B4-BE49-F238E27FC236}">
                <a16:creationId xmlns:a16="http://schemas.microsoft.com/office/drawing/2014/main" id="{72E461ED-FE6B-472A-84CF-CA7D67D5FF90}"/>
              </a:ext>
            </a:extLst>
          </p:cNvPr>
          <p:cNvSpPr txBox="1"/>
          <p:nvPr userDrawn="1"/>
        </p:nvSpPr>
        <p:spPr>
          <a:xfrm>
            <a:off x="280987" y="533918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 descr="{&quot;templafy&quot;:{&quot;id&quot;:&quot;a49bfef0-b13b-4167-91a7-798b49fd6e80&quot;}}">
            <a:extLst>
              <a:ext uri="{FF2B5EF4-FFF2-40B4-BE49-F238E27FC236}">
                <a16:creationId xmlns:a16="http://schemas.microsoft.com/office/drawing/2014/main" id="{3471D1DE-3939-4170-8CCD-AA9743B81749}"/>
              </a:ext>
            </a:extLst>
          </p:cNvPr>
          <p:cNvSpPr txBox="1"/>
          <p:nvPr userDrawn="1"/>
        </p:nvSpPr>
        <p:spPr>
          <a:xfrm>
            <a:off x="288000" y="513583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2064516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3182243" name="SAP Logo Placeholder" descr="{&quot;templafy&quot;:{&quot;id&quot;:&quot;8fa580e0-60de-4859-826c-3f778bb1c63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3" name="Partner Logo Placeholder">
            <a:extLst>
              <a:ext uri="{FF2B5EF4-FFF2-40B4-BE49-F238E27FC236}">
                <a16:creationId xmlns:a16="http://schemas.microsoft.com/office/drawing/2014/main" id="{B8569445-4B1E-1949-9952-1DDE9A7284D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12" name="Classification" descr="{&quot;templafy&quot;:{&quot;id&quot;:&quot;8177ae73-b222-4795-94bc-12148a67715b&quot;}}">
            <a:extLst>
              <a:ext uri="{FF2B5EF4-FFF2-40B4-BE49-F238E27FC236}">
                <a16:creationId xmlns:a16="http://schemas.microsoft.com/office/drawing/2014/main" id="{9AED1B7B-FC45-4242-8DBB-E0D16A9A9CDB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1628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05942392" name="Acquired Company Logo Placeholder" descr="{&quot;templafy&quot;:{&quot;id&quot;:&quot;3360383a-7530-4253-982f-54c9c739b23d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2045822"/>
            <a:ext cx="4125924" cy="266010"/>
          </a:xfrm>
          <a:prstGeom prst="rect">
            <a:avLst/>
          </a:prstGeom>
        </p:spPr>
      </p:pic>
      <p:sp>
        <p:nvSpPr>
          <p:cNvPr id="8" name="TextBox 7" descr="{&quot;templafy&quot;:{&quot;id&quot;:&quot;b0a39dc1-5cf9-4ab8-82f5-437452eed83b&quot;}}">
            <a:extLst>
              <a:ext uri="{FF2B5EF4-FFF2-40B4-BE49-F238E27FC236}">
                <a16:creationId xmlns:a16="http://schemas.microsoft.com/office/drawing/2014/main" id="{64C1028F-1E91-4F0C-94BA-BF68E9AED35D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0" name="TextBox 9" descr="{&quot;templafy&quot;:{&quot;id&quot;:&quot;574ae19f-685f-4760-bc9a-612c1d5117bf&quot;}}">
            <a:extLst>
              <a:ext uri="{FF2B5EF4-FFF2-40B4-BE49-F238E27FC236}">
                <a16:creationId xmlns:a16="http://schemas.microsoft.com/office/drawing/2014/main" id="{8D0BBFAA-C778-47CC-B6FF-20BAB456E2C9}"/>
              </a:ext>
            </a:extLst>
          </p:cNvPr>
          <p:cNvSpPr txBox="1"/>
          <p:nvPr userDrawn="1"/>
        </p:nvSpPr>
        <p:spPr>
          <a:xfrm>
            <a:off x="280987" y="447812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 descr="{&quot;templafy&quot;:{&quot;id&quot;:&quot;26c22a0a-39cb-4e29-b885-386f933c6934&quot;}}">
            <a:extLst>
              <a:ext uri="{FF2B5EF4-FFF2-40B4-BE49-F238E27FC236}">
                <a16:creationId xmlns:a16="http://schemas.microsoft.com/office/drawing/2014/main" id="{65BC2793-745A-43E4-8CF5-24D8BF40D064}"/>
              </a:ext>
            </a:extLst>
          </p:cNvPr>
          <p:cNvSpPr txBox="1"/>
          <p:nvPr userDrawn="1"/>
        </p:nvSpPr>
        <p:spPr>
          <a:xfrm>
            <a:off x="288000" y="427477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4036396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6" pos="7506">
          <p15:clr>
            <a:srgbClr val="FBAE40"/>
          </p15:clr>
        </p15:guide>
        <p15:guide id="7" orient="horz" pos="414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Pict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378006" name="SAP Logo Placeholder" descr="{&quot;templafy&quot;:{&quot;id&quot;:&quot;d575aaf5-e081-48ee-afd8-a7f18869d74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4CB2664F-AB46-2A47-9F24-F5710739600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7" name="Pictogram Placeholder"/>
          <p:cNvSpPr>
            <a:spLocks noGrp="1"/>
          </p:cNvSpPr>
          <p:nvPr>
            <p:ph type="pic" sz="quarter" idx="16"/>
          </p:nvPr>
        </p:nvSpPr>
        <p:spPr>
          <a:xfrm>
            <a:off x="6954855" y="963000"/>
            <a:ext cx="4932000" cy="49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1" name="Classification" descr="{&quot;templafy&quot;:{&quot;id&quot;:&quot;cff6036f-bd4e-482f-9d33-c867e44eb4db&quot;}}">
            <a:extLst>
              <a:ext uri="{FF2B5EF4-FFF2-40B4-BE49-F238E27FC236}">
                <a16:creationId xmlns:a16="http://schemas.microsoft.com/office/drawing/2014/main" id="{579B2F34-6F4A-4590-92E9-60572485B8E0}"/>
              </a:ext>
            </a:extLst>
          </p:cNvPr>
          <p:cNvSpPr txBox="1"/>
          <p:nvPr userDrawn="1"/>
        </p:nvSpPr>
        <p:spPr>
          <a:xfrm>
            <a:off x="287338" y="5057581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8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372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9036960" name="Acquired Company Placeholder" descr="{&quot;templafy&quot;:{&quot;id&quot;:&quot;d0975669-fd1a-479f-a155-686ec3b49497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320" y="2015327"/>
            <a:ext cx="4125924" cy="266010"/>
          </a:xfrm>
          <a:prstGeom prst="rect">
            <a:avLst/>
          </a:prstGeom>
        </p:spPr>
      </p:pic>
      <p:sp>
        <p:nvSpPr>
          <p:cNvPr id="13" name="TextBox 12" descr="{&quot;templafy&quot;:{&quot;id&quot;:&quot;de83b89e-06f8-4a66-bc78-e0ce11a647df&quot;}}">
            <a:extLst>
              <a:ext uri="{FF2B5EF4-FFF2-40B4-BE49-F238E27FC236}">
                <a16:creationId xmlns:a16="http://schemas.microsoft.com/office/drawing/2014/main" id="{E5062E1B-D4F0-4EAA-8E47-95C23306D85C}"/>
              </a:ext>
            </a:extLst>
          </p:cNvPr>
          <p:cNvSpPr txBox="1"/>
          <p:nvPr userDrawn="1"/>
        </p:nvSpPr>
        <p:spPr>
          <a:xfrm>
            <a:off x="287338" y="5057581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4" name="TextBox 13" descr="{&quot;templafy&quot;:{&quot;id&quot;:&quot;750ae7db-3190-4f26-9cf0-70c9bae50bf6&quot;}}">
            <a:extLst>
              <a:ext uri="{FF2B5EF4-FFF2-40B4-BE49-F238E27FC236}">
                <a16:creationId xmlns:a16="http://schemas.microsoft.com/office/drawing/2014/main" id="{104400F3-30DA-42BD-9477-E89126EB131B}"/>
              </a:ext>
            </a:extLst>
          </p:cNvPr>
          <p:cNvSpPr txBox="1"/>
          <p:nvPr userDrawn="1"/>
        </p:nvSpPr>
        <p:spPr>
          <a:xfrm>
            <a:off x="280987" y="447812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 descr="{&quot;templafy&quot;:{&quot;id&quot;:&quot;02f54ec1-6a21-459e-adb1-999fde8be390&quot;}}">
            <a:extLst>
              <a:ext uri="{FF2B5EF4-FFF2-40B4-BE49-F238E27FC236}">
                <a16:creationId xmlns:a16="http://schemas.microsoft.com/office/drawing/2014/main" id="{1DA16BA6-203F-4A94-9917-BFF1986FD4F6}"/>
              </a:ext>
            </a:extLst>
          </p:cNvPr>
          <p:cNvSpPr txBox="1"/>
          <p:nvPr userDrawn="1"/>
        </p:nvSpPr>
        <p:spPr>
          <a:xfrm>
            <a:off x="288000" y="427477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583915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pos="4196">
          <p15:clr>
            <a:srgbClr val="FBAE40"/>
          </p15:clr>
        </p15:guide>
        <p15:guide id="4" orient="horz" pos="2688">
          <p15:clr>
            <a:srgbClr val="FBAE40"/>
          </p15:clr>
        </p15:guide>
        <p15:guide id="5" orient="horz" pos="2335">
          <p15:clr>
            <a:srgbClr val="FBAE40"/>
          </p15:clr>
        </p15:guide>
        <p15:guide id="6" orient="horz" pos="2960">
          <p15:clr>
            <a:srgbClr val="FBAE40"/>
          </p15:clr>
        </p15:guide>
        <p15:guide id="7" orient="horz" pos="414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11185200" cy="4716000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3693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233205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3665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17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9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921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1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Pictogra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30291420" name="SAP Logo Placeholer" descr="{&quot;templafy&quot;:{&quot;id&quot;:&quot;87f23f44-5671-4d59-aa70-a56fa79f0d3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CDF488C1-3A47-E949-B29F-E38211D2C51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7" name="Pictogram Placeholder"/>
          <p:cNvSpPr>
            <a:spLocks noGrp="1"/>
          </p:cNvSpPr>
          <p:nvPr>
            <p:ph type="pic" sz="quarter" idx="16"/>
          </p:nvPr>
        </p:nvSpPr>
        <p:spPr>
          <a:xfrm>
            <a:off x="6954855" y="963000"/>
            <a:ext cx="4932000" cy="4932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8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372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071088161" name="Acquired Company Logo Placeholder" descr="{&quot;templafy&quot;:{&quot;id&quot;:&quot;a6690f6d-12a0-4492-989f-ee7248cf29b2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1" y="2139633"/>
            <a:ext cx="4125924" cy="266010"/>
          </a:xfrm>
          <a:prstGeom prst="rect">
            <a:avLst/>
          </a:prstGeom>
        </p:spPr>
      </p:pic>
      <p:sp>
        <p:nvSpPr>
          <p:cNvPr id="9" name="TextBox 8" descr="{&quot;templafy&quot;:{&quot;id&quot;:&quot;aa182e57-eaf6-4b28-ad8b-c8b5f60f74e9&quot;}}">
            <a:extLst>
              <a:ext uri="{FF2B5EF4-FFF2-40B4-BE49-F238E27FC236}">
                <a16:creationId xmlns:a16="http://schemas.microsoft.com/office/drawing/2014/main" id="{98E5DEB1-9722-40B6-89CC-20C572BA33F7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048046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pos="4196" userDrawn="1">
          <p15:clr>
            <a:srgbClr val="FBAE40"/>
          </p15:clr>
        </p15:guide>
        <p15:guide id="4" orient="horz" pos="2688" userDrawn="1">
          <p15:clr>
            <a:srgbClr val="FBAE40"/>
          </p15:clr>
        </p15:guide>
        <p15:guide id="5" orient="horz" pos="2335" userDrawn="1">
          <p15:clr>
            <a:srgbClr val="FBAE40"/>
          </p15:clr>
        </p15:guide>
        <p15:guide id="6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096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10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437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20">
          <p15:clr>
            <a:srgbClr val="FBAE40"/>
          </p15:clr>
        </p15:guide>
        <p15:guide id="10" orient="horz" pos="399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735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2678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1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056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19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015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1">
          <p15:clr>
            <a:srgbClr val="FBAE40"/>
          </p15:clr>
        </p15:guide>
        <p15:guide id="5" orient="horz" pos="211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11845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620000"/>
            <a:ext cx="7092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682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9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10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full 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35218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620000"/>
            <a:ext cx="5328000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970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620000"/>
            <a:ext cx="11185200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11185200" cy="4716000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1020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2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84289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0017575" name="SAP Logo Placeholder" descr="{&quot;templafy&quot;:{&quot;id&quot;:&quot;43bd4141-03ec-42e8-932a-bf9d012495f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9760" y="5797296"/>
            <a:ext cx="2208436" cy="532020"/>
          </a:xfrm>
          <a:prstGeom prst="rect">
            <a:avLst/>
          </a:prstGeom>
        </p:spPr>
      </p:pic>
      <p:pic>
        <p:nvPicPr>
          <p:cNvPr id="1170070854" name="Acquired Company Placeholder" descr="{&quot;templafy&quot;:{&quot;id&quot;:&quot;5f013b52-6a7f-41f0-aa25-c97897731de0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00" y="509180"/>
            <a:ext cx="4125924" cy="266010"/>
          </a:xfrm>
          <a:prstGeom prst="rect">
            <a:avLst/>
          </a:prstGeom>
        </p:spPr>
      </p:pic>
      <p:sp>
        <p:nvSpPr>
          <p:cNvPr id="9" name="TextBox 8" descr="{&quot;templafy&quot;:{&quot;id&quot;:&quot;2e815dc4-b8aa-4b52-950e-8b2f00e4124f&quot;}}">
            <a:extLst>
              <a:ext uri="{FF2B5EF4-FFF2-40B4-BE49-F238E27FC236}">
                <a16:creationId xmlns:a16="http://schemas.microsoft.com/office/drawing/2014/main" id="{4AC0C605-F314-47FE-86E7-15011350854E}"/>
              </a:ext>
            </a:extLst>
          </p:cNvPr>
          <p:cNvSpPr txBox="1"/>
          <p:nvPr userDrawn="1"/>
        </p:nvSpPr>
        <p:spPr>
          <a:xfrm>
            <a:off x="503238" y="331742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</a:t>
            </a:r>
          </a:p>
        </p:txBody>
      </p:sp>
      <p:sp>
        <p:nvSpPr>
          <p:cNvPr id="10" name="TextBox 9" descr="{&quot;templafy&quot;:{&quot;id&quot;:&quot;9cfdf92a-b699-438c-903f-0473215e6f41&quot;}}">
            <a:extLst>
              <a:ext uri="{FF2B5EF4-FFF2-40B4-BE49-F238E27FC236}">
                <a16:creationId xmlns:a16="http://schemas.microsoft.com/office/drawing/2014/main" id="{8E5171B9-2B3B-4785-9AC4-6411974D5276}"/>
              </a:ext>
            </a:extLst>
          </p:cNvPr>
          <p:cNvSpPr txBox="1"/>
          <p:nvPr userDrawn="1"/>
        </p:nvSpPr>
        <p:spPr>
          <a:xfrm>
            <a:off x="503238" y="3540574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i.bitz@sap.co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31ECE2-ED38-FE42-BEBA-1433C352D307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/>
              <a:t>Contact inform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5C152E-1B2C-2848-9A5B-C013FDF4DF21}"/>
              </a:ext>
            </a:extLst>
          </p:cNvPr>
          <p:cNvSpPr txBox="1"/>
          <p:nvPr userDrawn="1"/>
        </p:nvSpPr>
        <p:spPr>
          <a:xfrm>
            <a:off x="569740" y="1730867"/>
            <a:ext cx="439124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4800" b="1" kern="0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sp>
        <p:nvSpPr>
          <p:cNvPr id="11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0FCCAAF4-A87C-AC49-8F35-138E790C44C3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418287541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17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156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2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505493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17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102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10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96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21.xml"/><Relationship Id="rId63" Type="http://schemas.openxmlformats.org/officeDocument/2006/relationships/tags" Target="../tags/tag42.xml"/><Relationship Id="rId84" Type="http://schemas.openxmlformats.org/officeDocument/2006/relationships/tags" Target="../tags/tag63.xml"/><Relationship Id="rId138" Type="http://schemas.openxmlformats.org/officeDocument/2006/relationships/tags" Target="../tags/tag117.xml"/><Relationship Id="rId107" Type="http://schemas.openxmlformats.org/officeDocument/2006/relationships/tags" Target="../tags/tag8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1.xml"/><Relationship Id="rId53" Type="http://schemas.openxmlformats.org/officeDocument/2006/relationships/tags" Target="../tags/tag32.xml"/><Relationship Id="rId74" Type="http://schemas.openxmlformats.org/officeDocument/2006/relationships/tags" Target="../tags/tag53.xml"/><Relationship Id="rId128" Type="http://schemas.openxmlformats.org/officeDocument/2006/relationships/tags" Target="../tags/tag107.xml"/><Relationship Id="rId5" Type="http://schemas.openxmlformats.org/officeDocument/2006/relationships/slideLayout" Target="../slideLayouts/slideLayout5.xml"/><Relationship Id="rId90" Type="http://schemas.openxmlformats.org/officeDocument/2006/relationships/tags" Target="../tags/tag69.xml"/><Relationship Id="rId95" Type="http://schemas.openxmlformats.org/officeDocument/2006/relationships/tags" Target="../tags/tag74.xml"/><Relationship Id="rId22" Type="http://schemas.openxmlformats.org/officeDocument/2006/relationships/theme" Target="../theme/theme1.xml"/><Relationship Id="rId27" Type="http://schemas.openxmlformats.org/officeDocument/2006/relationships/tags" Target="../tags/tag6.xml"/><Relationship Id="rId43" Type="http://schemas.openxmlformats.org/officeDocument/2006/relationships/tags" Target="../tags/tag22.xml"/><Relationship Id="rId48" Type="http://schemas.openxmlformats.org/officeDocument/2006/relationships/tags" Target="../tags/tag27.xml"/><Relationship Id="rId64" Type="http://schemas.openxmlformats.org/officeDocument/2006/relationships/tags" Target="../tags/tag43.xml"/><Relationship Id="rId69" Type="http://schemas.openxmlformats.org/officeDocument/2006/relationships/tags" Target="../tags/tag48.xml"/><Relationship Id="rId113" Type="http://schemas.openxmlformats.org/officeDocument/2006/relationships/tags" Target="../tags/tag92.xml"/><Relationship Id="rId118" Type="http://schemas.openxmlformats.org/officeDocument/2006/relationships/tags" Target="../tags/tag97.xml"/><Relationship Id="rId134" Type="http://schemas.openxmlformats.org/officeDocument/2006/relationships/tags" Target="../tags/tag113.xml"/><Relationship Id="rId139" Type="http://schemas.openxmlformats.org/officeDocument/2006/relationships/tags" Target="../tags/tag118.xml"/><Relationship Id="rId80" Type="http://schemas.openxmlformats.org/officeDocument/2006/relationships/tags" Target="../tags/tag59.xml"/><Relationship Id="rId85" Type="http://schemas.openxmlformats.org/officeDocument/2006/relationships/tags" Target="../tags/tag64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12.xml"/><Relationship Id="rId38" Type="http://schemas.openxmlformats.org/officeDocument/2006/relationships/tags" Target="../tags/tag17.xml"/><Relationship Id="rId59" Type="http://schemas.openxmlformats.org/officeDocument/2006/relationships/tags" Target="../tags/tag38.xml"/><Relationship Id="rId103" Type="http://schemas.openxmlformats.org/officeDocument/2006/relationships/tags" Target="../tags/tag82.xml"/><Relationship Id="rId108" Type="http://schemas.openxmlformats.org/officeDocument/2006/relationships/tags" Target="../tags/tag87.xml"/><Relationship Id="rId124" Type="http://schemas.openxmlformats.org/officeDocument/2006/relationships/tags" Target="../tags/tag103.xml"/><Relationship Id="rId129" Type="http://schemas.openxmlformats.org/officeDocument/2006/relationships/tags" Target="../tags/tag108.xml"/><Relationship Id="rId54" Type="http://schemas.openxmlformats.org/officeDocument/2006/relationships/tags" Target="../tags/tag33.xml"/><Relationship Id="rId70" Type="http://schemas.openxmlformats.org/officeDocument/2006/relationships/tags" Target="../tags/tag49.xml"/><Relationship Id="rId75" Type="http://schemas.openxmlformats.org/officeDocument/2006/relationships/tags" Target="../tags/tag54.xml"/><Relationship Id="rId91" Type="http://schemas.openxmlformats.org/officeDocument/2006/relationships/tags" Target="../tags/tag70.xml"/><Relationship Id="rId96" Type="http://schemas.openxmlformats.org/officeDocument/2006/relationships/tags" Target="../tags/tag75.xml"/><Relationship Id="rId140" Type="http://schemas.openxmlformats.org/officeDocument/2006/relationships/tags" Target="../tags/tag119.xml"/><Relationship Id="rId145" Type="http://schemas.openxmlformats.org/officeDocument/2006/relationships/tags" Target="../tags/tag12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49" Type="http://schemas.openxmlformats.org/officeDocument/2006/relationships/tags" Target="../tags/tag28.xml"/><Relationship Id="rId114" Type="http://schemas.openxmlformats.org/officeDocument/2006/relationships/tags" Target="../tags/tag93.xml"/><Relationship Id="rId119" Type="http://schemas.openxmlformats.org/officeDocument/2006/relationships/tags" Target="../tags/tag98.xml"/><Relationship Id="rId44" Type="http://schemas.openxmlformats.org/officeDocument/2006/relationships/tags" Target="../tags/tag23.xml"/><Relationship Id="rId60" Type="http://schemas.openxmlformats.org/officeDocument/2006/relationships/tags" Target="../tags/tag39.xml"/><Relationship Id="rId65" Type="http://schemas.openxmlformats.org/officeDocument/2006/relationships/tags" Target="../tags/tag44.xml"/><Relationship Id="rId81" Type="http://schemas.openxmlformats.org/officeDocument/2006/relationships/tags" Target="../tags/tag60.xml"/><Relationship Id="rId86" Type="http://schemas.openxmlformats.org/officeDocument/2006/relationships/tags" Target="../tags/tag65.xml"/><Relationship Id="rId130" Type="http://schemas.openxmlformats.org/officeDocument/2006/relationships/tags" Target="../tags/tag109.xml"/><Relationship Id="rId135" Type="http://schemas.openxmlformats.org/officeDocument/2006/relationships/tags" Target="../tags/tag114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18.xml"/><Relationship Id="rId109" Type="http://schemas.openxmlformats.org/officeDocument/2006/relationships/tags" Target="../tags/tag88.xml"/><Relationship Id="rId34" Type="http://schemas.openxmlformats.org/officeDocument/2006/relationships/tags" Target="../tags/tag13.xml"/><Relationship Id="rId50" Type="http://schemas.openxmlformats.org/officeDocument/2006/relationships/tags" Target="../tags/tag29.xml"/><Relationship Id="rId55" Type="http://schemas.openxmlformats.org/officeDocument/2006/relationships/tags" Target="../tags/tag34.xml"/><Relationship Id="rId76" Type="http://schemas.openxmlformats.org/officeDocument/2006/relationships/tags" Target="../tags/tag55.xml"/><Relationship Id="rId97" Type="http://schemas.openxmlformats.org/officeDocument/2006/relationships/tags" Target="../tags/tag76.xml"/><Relationship Id="rId104" Type="http://schemas.openxmlformats.org/officeDocument/2006/relationships/tags" Target="../tags/tag83.xml"/><Relationship Id="rId120" Type="http://schemas.openxmlformats.org/officeDocument/2006/relationships/tags" Target="../tags/tag99.xml"/><Relationship Id="rId125" Type="http://schemas.openxmlformats.org/officeDocument/2006/relationships/tags" Target="../tags/tag104.xml"/><Relationship Id="rId141" Type="http://schemas.openxmlformats.org/officeDocument/2006/relationships/tags" Target="../tags/tag120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0.xml"/><Relationship Id="rId92" Type="http://schemas.openxmlformats.org/officeDocument/2006/relationships/tags" Target="../tags/tag71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8.xml"/><Relationship Id="rId24" Type="http://schemas.openxmlformats.org/officeDocument/2006/relationships/tags" Target="../tags/tag3.xml"/><Relationship Id="rId40" Type="http://schemas.openxmlformats.org/officeDocument/2006/relationships/tags" Target="../tags/tag19.xml"/><Relationship Id="rId45" Type="http://schemas.openxmlformats.org/officeDocument/2006/relationships/tags" Target="../tags/tag24.xml"/><Relationship Id="rId66" Type="http://schemas.openxmlformats.org/officeDocument/2006/relationships/tags" Target="../tags/tag45.xml"/><Relationship Id="rId87" Type="http://schemas.openxmlformats.org/officeDocument/2006/relationships/tags" Target="../tags/tag66.xml"/><Relationship Id="rId110" Type="http://schemas.openxmlformats.org/officeDocument/2006/relationships/tags" Target="../tags/tag89.xml"/><Relationship Id="rId115" Type="http://schemas.openxmlformats.org/officeDocument/2006/relationships/tags" Target="../tags/tag94.xml"/><Relationship Id="rId131" Type="http://schemas.openxmlformats.org/officeDocument/2006/relationships/tags" Target="../tags/tag110.xml"/><Relationship Id="rId136" Type="http://schemas.openxmlformats.org/officeDocument/2006/relationships/tags" Target="../tags/tag115.xml"/><Relationship Id="rId61" Type="http://schemas.openxmlformats.org/officeDocument/2006/relationships/tags" Target="../tags/tag40.xml"/><Relationship Id="rId82" Type="http://schemas.openxmlformats.org/officeDocument/2006/relationships/tags" Target="../tags/tag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tags" Target="../tags/tag9.xml"/><Relationship Id="rId35" Type="http://schemas.openxmlformats.org/officeDocument/2006/relationships/tags" Target="../tags/tag14.xml"/><Relationship Id="rId56" Type="http://schemas.openxmlformats.org/officeDocument/2006/relationships/tags" Target="../tags/tag35.xml"/><Relationship Id="rId77" Type="http://schemas.openxmlformats.org/officeDocument/2006/relationships/tags" Target="../tags/tag56.xml"/><Relationship Id="rId100" Type="http://schemas.openxmlformats.org/officeDocument/2006/relationships/tags" Target="../tags/tag79.xml"/><Relationship Id="rId105" Type="http://schemas.openxmlformats.org/officeDocument/2006/relationships/tags" Target="../tags/tag84.xml"/><Relationship Id="rId126" Type="http://schemas.openxmlformats.org/officeDocument/2006/relationships/tags" Target="../tags/tag105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0.xml"/><Relationship Id="rId72" Type="http://schemas.openxmlformats.org/officeDocument/2006/relationships/tags" Target="../tags/tag51.xml"/><Relationship Id="rId93" Type="http://schemas.openxmlformats.org/officeDocument/2006/relationships/tags" Target="../tags/tag72.xml"/><Relationship Id="rId98" Type="http://schemas.openxmlformats.org/officeDocument/2006/relationships/tags" Target="../tags/tag77.xml"/><Relationship Id="rId121" Type="http://schemas.openxmlformats.org/officeDocument/2006/relationships/tags" Target="../tags/tag100.xml"/><Relationship Id="rId142" Type="http://schemas.openxmlformats.org/officeDocument/2006/relationships/tags" Target="../tags/tag121.xml"/><Relationship Id="rId3" Type="http://schemas.openxmlformats.org/officeDocument/2006/relationships/slideLayout" Target="../slideLayouts/slideLayout3.xml"/><Relationship Id="rId25" Type="http://schemas.openxmlformats.org/officeDocument/2006/relationships/tags" Target="../tags/tag4.xml"/><Relationship Id="rId46" Type="http://schemas.openxmlformats.org/officeDocument/2006/relationships/tags" Target="../tags/tag25.xml"/><Relationship Id="rId67" Type="http://schemas.openxmlformats.org/officeDocument/2006/relationships/tags" Target="../tags/tag46.xml"/><Relationship Id="rId116" Type="http://schemas.openxmlformats.org/officeDocument/2006/relationships/tags" Target="../tags/tag95.xml"/><Relationship Id="rId137" Type="http://schemas.openxmlformats.org/officeDocument/2006/relationships/tags" Target="../tags/tag116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20.xml"/><Relationship Id="rId62" Type="http://schemas.openxmlformats.org/officeDocument/2006/relationships/tags" Target="../tags/tag41.xml"/><Relationship Id="rId83" Type="http://schemas.openxmlformats.org/officeDocument/2006/relationships/tags" Target="../tags/tag62.xml"/><Relationship Id="rId88" Type="http://schemas.openxmlformats.org/officeDocument/2006/relationships/tags" Target="../tags/tag67.xml"/><Relationship Id="rId111" Type="http://schemas.openxmlformats.org/officeDocument/2006/relationships/tags" Target="../tags/tag90.xml"/><Relationship Id="rId132" Type="http://schemas.openxmlformats.org/officeDocument/2006/relationships/tags" Target="../tags/tag111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15.xml"/><Relationship Id="rId57" Type="http://schemas.openxmlformats.org/officeDocument/2006/relationships/tags" Target="../tags/tag36.xml"/><Relationship Id="rId106" Type="http://schemas.openxmlformats.org/officeDocument/2006/relationships/tags" Target="../tags/tag85.xml"/><Relationship Id="rId127" Type="http://schemas.openxmlformats.org/officeDocument/2006/relationships/tags" Target="../tags/tag106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0.xml"/><Relationship Id="rId52" Type="http://schemas.openxmlformats.org/officeDocument/2006/relationships/tags" Target="../tags/tag31.xml"/><Relationship Id="rId73" Type="http://schemas.openxmlformats.org/officeDocument/2006/relationships/tags" Target="../tags/tag52.xml"/><Relationship Id="rId78" Type="http://schemas.openxmlformats.org/officeDocument/2006/relationships/tags" Target="../tags/tag57.xml"/><Relationship Id="rId94" Type="http://schemas.openxmlformats.org/officeDocument/2006/relationships/tags" Target="../tags/tag73.xml"/><Relationship Id="rId99" Type="http://schemas.openxmlformats.org/officeDocument/2006/relationships/tags" Target="../tags/tag78.xml"/><Relationship Id="rId101" Type="http://schemas.openxmlformats.org/officeDocument/2006/relationships/tags" Target="../tags/tag80.xml"/><Relationship Id="rId122" Type="http://schemas.openxmlformats.org/officeDocument/2006/relationships/tags" Target="../tags/tag101.xml"/><Relationship Id="rId143" Type="http://schemas.openxmlformats.org/officeDocument/2006/relationships/tags" Target="../tags/tag12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tags" Target="../tags/tag5.xml"/><Relationship Id="rId47" Type="http://schemas.openxmlformats.org/officeDocument/2006/relationships/tags" Target="../tags/tag26.xml"/><Relationship Id="rId68" Type="http://schemas.openxmlformats.org/officeDocument/2006/relationships/tags" Target="../tags/tag47.xml"/><Relationship Id="rId89" Type="http://schemas.openxmlformats.org/officeDocument/2006/relationships/tags" Target="../tags/tag68.xml"/><Relationship Id="rId112" Type="http://schemas.openxmlformats.org/officeDocument/2006/relationships/tags" Target="../tags/tag91.xml"/><Relationship Id="rId133" Type="http://schemas.openxmlformats.org/officeDocument/2006/relationships/tags" Target="../tags/tag112.xml"/><Relationship Id="rId16" Type="http://schemas.openxmlformats.org/officeDocument/2006/relationships/slideLayout" Target="../slideLayouts/slideLayout16.xml"/><Relationship Id="rId37" Type="http://schemas.openxmlformats.org/officeDocument/2006/relationships/tags" Target="../tags/tag16.xml"/><Relationship Id="rId58" Type="http://schemas.openxmlformats.org/officeDocument/2006/relationships/tags" Target="../tags/tag37.xml"/><Relationship Id="rId79" Type="http://schemas.openxmlformats.org/officeDocument/2006/relationships/tags" Target="../tags/tag58.xml"/><Relationship Id="rId102" Type="http://schemas.openxmlformats.org/officeDocument/2006/relationships/tags" Target="../tags/tag81.xml"/><Relationship Id="rId123" Type="http://schemas.openxmlformats.org/officeDocument/2006/relationships/tags" Target="../tags/tag102.xml"/><Relationship Id="rId144" Type="http://schemas.openxmlformats.org/officeDocument/2006/relationships/tags" Target="../tags/tag123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tags" Target="../tags/tag220.xml"/><Relationship Id="rId21" Type="http://schemas.openxmlformats.org/officeDocument/2006/relationships/theme" Target="../theme/theme2.xml"/><Relationship Id="rId42" Type="http://schemas.openxmlformats.org/officeDocument/2006/relationships/tags" Target="../tags/tag145.xml"/><Relationship Id="rId63" Type="http://schemas.openxmlformats.org/officeDocument/2006/relationships/tags" Target="../tags/tag166.xml"/><Relationship Id="rId84" Type="http://schemas.openxmlformats.org/officeDocument/2006/relationships/tags" Target="../tags/tag187.xml"/><Relationship Id="rId138" Type="http://schemas.openxmlformats.org/officeDocument/2006/relationships/tags" Target="../tags/tag241.xml"/><Relationship Id="rId107" Type="http://schemas.openxmlformats.org/officeDocument/2006/relationships/tags" Target="../tags/tag210.xml"/><Relationship Id="rId11" Type="http://schemas.openxmlformats.org/officeDocument/2006/relationships/slideLayout" Target="../slideLayouts/slideLayout32.xml"/><Relationship Id="rId32" Type="http://schemas.openxmlformats.org/officeDocument/2006/relationships/tags" Target="../tags/tag135.xml"/><Relationship Id="rId37" Type="http://schemas.openxmlformats.org/officeDocument/2006/relationships/tags" Target="../tags/tag140.xml"/><Relationship Id="rId53" Type="http://schemas.openxmlformats.org/officeDocument/2006/relationships/tags" Target="../tags/tag156.xml"/><Relationship Id="rId58" Type="http://schemas.openxmlformats.org/officeDocument/2006/relationships/tags" Target="../tags/tag161.xml"/><Relationship Id="rId74" Type="http://schemas.openxmlformats.org/officeDocument/2006/relationships/tags" Target="../tags/tag177.xml"/><Relationship Id="rId79" Type="http://schemas.openxmlformats.org/officeDocument/2006/relationships/tags" Target="../tags/tag182.xml"/><Relationship Id="rId102" Type="http://schemas.openxmlformats.org/officeDocument/2006/relationships/tags" Target="../tags/tag205.xml"/><Relationship Id="rId123" Type="http://schemas.openxmlformats.org/officeDocument/2006/relationships/tags" Target="../tags/tag226.xml"/><Relationship Id="rId128" Type="http://schemas.openxmlformats.org/officeDocument/2006/relationships/tags" Target="../tags/tag231.xml"/><Relationship Id="rId144" Type="http://schemas.openxmlformats.org/officeDocument/2006/relationships/tags" Target="../tags/tag247.xml"/><Relationship Id="rId5" Type="http://schemas.openxmlformats.org/officeDocument/2006/relationships/slideLayout" Target="../slideLayouts/slideLayout26.xml"/><Relationship Id="rId90" Type="http://schemas.openxmlformats.org/officeDocument/2006/relationships/tags" Target="../tags/tag193.xml"/><Relationship Id="rId95" Type="http://schemas.openxmlformats.org/officeDocument/2006/relationships/tags" Target="../tags/tag198.xml"/><Relationship Id="rId22" Type="http://schemas.openxmlformats.org/officeDocument/2006/relationships/tags" Target="../tags/tag125.xml"/><Relationship Id="rId27" Type="http://schemas.openxmlformats.org/officeDocument/2006/relationships/tags" Target="../tags/tag130.xml"/><Relationship Id="rId43" Type="http://schemas.openxmlformats.org/officeDocument/2006/relationships/tags" Target="../tags/tag146.xml"/><Relationship Id="rId48" Type="http://schemas.openxmlformats.org/officeDocument/2006/relationships/tags" Target="../tags/tag151.xml"/><Relationship Id="rId64" Type="http://schemas.openxmlformats.org/officeDocument/2006/relationships/tags" Target="../tags/tag167.xml"/><Relationship Id="rId69" Type="http://schemas.openxmlformats.org/officeDocument/2006/relationships/tags" Target="../tags/tag172.xml"/><Relationship Id="rId113" Type="http://schemas.openxmlformats.org/officeDocument/2006/relationships/tags" Target="../tags/tag216.xml"/><Relationship Id="rId118" Type="http://schemas.openxmlformats.org/officeDocument/2006/relationships/tags" Target="../tags/tag221.xml"/><Relationship Id="rId134" Type="http://schemas.openxmlformats.org/officeDocument/2006/relationships/tags" Target="../tags/tag237.xml"/><Relationship Id="rId139" Type="http://schemas.openxmlformats.org/officeDocument/2006/relationships/tags" Target="../tags/tag242.xml"/><Relationship Id="rId80" Type="http://schemas.openxmlformats.org/officeDocument/2006/relationships/tags" Target="../tags/tag183.xml"/><Relationship Id="rId85" Type="http://schemas.openxmlformats.org/officeDocument/2006/relationships/tags" Target="../tags/tag18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33" Type="http://schemas.openxmlformats.org/officeDocument/2006/relationships/tags" Target="../tags/tag136.xml"/><Relationship Id="rId38" Type="http://schemas.openxmlformats.org/officeDocument/2006/relationships/tags" Target="../tags/tag141.xml"/><Relationship Id="rId59" Type="http://schemas.openxmlformats.org/officeDocument/2006/relationships/tags" Target="../tags/tag162.xml"/><Relationship Id="rId103" Type="http://schemas.openxmlformats.org/officeDocument/2006/relationships/tags" Target="../tags/tag206.xml"/><Relationship Id="rId108" Type="http://schemas.openxmlformats.org/officeDocument/2006/relationships/tags" Target="../tags/tag211.xml"/><Relationship Id="rId124" Type="http://schemas.openxmlformats.org/officeDocument/2006/relationships/tags" Target="../tags/tag227.xml"/><Relationship Id="rId129" Type="http://schemas.openxmlformats.org/officeDocument/2006/relationships/tags" Target="../tags/tag232.xml"/><Relationship Id="rId54" Type="http://schemas.openxmlformats.org/officeDocument/2006/relationships/tags" Target="../tags/tag157.xml"/><Relationship Id="rId70" Type="http://schemas.openxmlformats.org/officeDocument/2006/relationships/tags" Target="../tags/tag173.xml"/><Relationship Id="rId75" Type="http://schemas.openxmlformats.org/officeDocument/2006/relationships/tags" Target="../tags/tag178.xml"/><Relationship Id="rId91" Type="http://schemas.openxmlformats.org/officeDocument/2006/relationships/tags" Target="../tags/tag194.xml"/><Relationship Id="rId96" Type="http://schemas.openxmlformats.org/officeDocument/2006/relationships/tags" Target="../tags/tag199.xml"/><Relationship Id="rId140" Type="http://schemas.openxmlformats.org/officeDocument/2006/relationships/tags" Target="../tags/tag24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23" Type="http://schemas.openxmlformats.org/officeDocument/2006/relationships/tags" Target="../tags/tag126.xml"/><Relationship Id="rId28" Type="http://schemas.openxmlformats.org/officeDocument/2006/relationships/tags" Target="../tags/tag131.xml"/><Relationship Id="rId49" Type="http://schemas.openxmlformats.org/officeDocument/2006/relationships/tags" Target="../tags/tag152.xml"/><Relationship Id="rId114" Type="http://schemas.openxmlformats.org/officeDocument/2006/relationships/tags" Target="../tags/tag217.xml"/><Relationship Id="rId119" Type="http://schemas.openxmlformats.org/officeDocument/2006/relationships/tags" Target="../tags/tag222.xml"/><Relationship Id="rId44" Type="http://schemas.openxmlformats.org/officeDocument/2006/relationships/tags" Target="../tags/tag147.xml"/><Relationship Id="rId60" Type="http://schemas.openxmlformats.org/officeDocument/2006/relationships/tags" Target="../tags/tag163.xml"/><Relationship Id="rId65" Type="http://schemas.openxmlformats.org/officeDocument/2006/relationships/tags" Target="../tags/tag168.xml"/><Relationship Id="rId81" Type="http://schemas.openxmlformats.org/officeDocument/2006/relationships/tags" Target="../tags/tag184.xml"/><Relationship Id="rId86" Type="http://schemas.openxmlformats.org/officeDocument/2006/relationships/tags" Target="../tags/tag189.xml"/><Relationship Id="rId130" Type="http://schemas.openxmlformats.org/officeDocument/2006/relationships/tags" Target="../tags/tag233.xml"/><Relationship Id="rId135" Type="http://schemas.openxmlformats.org/officeDocument/2006/relationships/tags" Target="../tags/tag238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9" Type="http://schemas.openxmlformats.org/officeDocument/2006/relationships/tags" Target="../tags/tag142.xml"/><Relationship Id="rId109" Type="http://schemas.openxmlformats.org/officeDocument/2006/relationships/tags" Target="../tags/tag212.xml"/><Relationship Id="rId34" Type="http://schemas.openxmlformats.org/officeDocument/2006/relationships/tags" Target="../tags/tag137.xml"/><Relationship Id="rId50" Type="http://schemas.openxmlformats.org/officeDocument/2006/relationships/tags" Target="../tags/tag153.xml"/><Relationship Id="rId55" Type="http://schemas.openxmlformats.org/officeDocument/2006/relationships/tags" Target="../tags/tag158.xml"/><Relationship Id="rId76" Type="http://schemas.openxmlformats.org/officeDocument/2006/relationships/tags" Target="../tags/tag179.xml"/><Relationship Id="rId97" Type="http://schemas.openxmlformats.org/officeDocument/2006/relationships/tags" Target="../tags/tag200.xml"/><Relationship Id="rId104" Type="http://schemas.openxmlformats.org/officeDocument/2006/relationships/tags" Target="../tags/tag207.xml"/><Relationship Id="rId120" Type="http://schemas.openxmlformats.org/officeDocument/2006/relationships/tags" Target="../tags/tag223.xml"/><Relationship Id="rId125" Type="http://schemas.openxmlformats.org/officeDocument/2006/relationships/tags" Target="../tags/tag228.xml"/><Relationship Id="rId141" Type="http://schemas.openxmlformats.org/officeDocument/2006/relationships/tags" Target="../tags/tag244.xml"/><Relationship Id="rId7" Type="http://schemas.openxmlformats.org/officeDocument/2006/relationships/slideLayout" Target="../slideLayouts/slideLayout28.xml"/><Relationship Id="rId71" Type="http://schemas.openxmlformats.org/officeDocument/2006/relationships/tags" Target="../tags/tag174.xml"/><Relationship Id="rId92" Type="http://schemas.openxmlformats.org/officeDocument/2006/relationships/tags" Target="../tags/tag195.xml"/><Relationship Id="rId2" Type="http://schemas.openxmlformats.org/officeDocument/2006/relationships/slideLayout" Target="../slideLayouts/slideLayout23.xml"/><Relationship Id="rId29" Type="http://schemas.openxmlformats.org/officeDocument/2006/relationships/tags" Target="../tags/tag132.xml"/><Relationship Id="rId24" Type="http://schemas.openxmlformats.org/officeDocument/2006/relationships/tags" Target="../tags/tag127.xml"/><Relationship Id="rId40" Type="http://schemas.openxmlformats.org/officeDocument/2006/relationships/tags" Target="../tags/tag143.xml"/><Relationship Id="rId45" Type="http://schemas.openxmlformats.org/officeDocument/2006/relationships/tags" Target="../tags/tag148.xml"/><Relationship Id="rId66" Type="http://schemas.openxmlformats.org/officeDocument/2006/relationships/tags" Target="../tags/tag169.xml"/><Relationship Id="rId87" Type="http://schemas.openxmlformats.org/officeDocument/2006/relationships/tags" Target="../tags/tag190.xml"/><Relationship Id="rId110" Type="http://schemas.openxmlformats.org/officeDocument/2006/relationships/tags" Target="../tags/tag213.xml"/><Relationship Id="rId115" Type="http://schemas.openxmlformats.org/officeDocument/2006/relationships/tags" Target="../tags/tag218.xml"/><Relationship Id="rId131" Type="http://schemas.openxmlformats.org/officeDocument/2006/relationships/tags" Target="../tags/tag234.xml"/><Relationship Id="rId136" Type="http://schemas.openxmlformats.org/officeDocument/2006/relationships/tags" Target="../tags/tag239.xml"/><Relationship Id="rId61" Type="http://schemas.openxmlformats.org/officeDocument/2006/relationships/tags" Target="../tags/tag164.xml"/><Relationship Id="rId82" Type="http://schemas.openxmlformats.org/officeDocument/2006/relationships/tags" Target="../tags/tag185.xml"/><Relationship Id="rId1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35.xml"/><Relationship Id="rId30" Type="http://schemas.openxmlformats.org/officeDocument/2006/relationships/tags" Target="../tags/tag133.xml"/><Relationship Id="rId35" Type="http://schemas.openxmlformats.org/officeDocument/2006/relationships/tags" Target="../tags/tag138.xml"/><Relationship Id="rId56" Type="http://schemas.openxmlformats.org/officeDocument/2006/relationships/tags" Target="../tags/tag159.xml"/><Relationship Id="rId77" Type="http://schemas.openxmlformats.org/officeDocument/2006/relationships/tags" Target="../tags/tag180.xml"/><Relationship Id="rId100" Type="http://schemas.openxmlformats.org/officeDocument/2006/relationships/tags" Target="../tags/tag203.xml"/><Relationship Id="rId105" Type="http://schemas.openxmlformats.org/officeDocument/2006/relationships/tags" Target="../tags/tag208.xml"/><Relationship Id="rId126" Type="http://schemas.openxmlformats.org/officeDocument/2006/relationships/tags" Target="../tags/tag229.xml"/><Relationship Id="rId8" Type="http://schemas.openxmlformats.org/officeDocument/2006/relationships/slideLayout" Target="../slideLayouts/slideLayout29.xml"/><Relationship Id="rId51" Type="http://schemas.openxmlformats.org/officeDocument/2006/relationships/tags" Target="../tags/tag154.xml"/><Relationship Id="rId72" Type="http://schemas.openxmlformats.org/officeDocument/2006/relationships/tags" Target="../tags/tag175.xml"/><Relationship Id="rId93" Type="http://schemas.openxmlformats.org/officeDocument/2006/relationships/tags" Target="../tags/tag196.xml"/><Relationship Id="rId98" Type="http://schemas.openxmlformats.org/officeDocument/2006/relationships/tags" Target="../tags/tag201.xml"/><Relationship Id="rId121" Type="http://schemas.openxmlformats.org/officeDocument/2006/relationships/tags" Target="../tags/tag224.xml"/><Relationship Id="rId142" Type="http://schemas.openxmlformats.org/officeDocument/2006/relationships/tags" Target="../tags/tag245.xml"/><Relationship Id="rId3" Type="http://schemas.openxmlformats.org/officeDocument/2006/relationships/slideLayout" Target="../slideLayouts/slideLayout24.xml"/><Relationship Id="rId25" Type="http://schemas.openxmlformats.org/officeDocument/2006/relationships/tags" Target="../tags/tag128.xml"/><Relationship Id="rId46" Type="http://schemas.openxmlformats.org/officeDocument/2006/relationships/tags" Target="../tags/tag149.xml"/><Relationship Id="rId67" Type="http://schemas.openxmlformats.org/officeDocument/2006/relationships/tags" Target="../tags/tag170.xml"/><Relationship Id="rId116" Type="http://schemas.openxmlformats.org/officeDocument/2006/relationships/tags" Target="../tags/tag219.xml"/><Relationship Id="rId137" Type="http://schemas.openxmlformats.org/officeDocument/2006/relationships/tags" Target="../tags/tag240.xml"/><Relationship Id="rId20" Type="http://schemas.openxmlformats.org/officeDocument/2006/relationships/slideLayout" Target="../slideLayouts/slideLayout41.xml"/><Relationship Id="rId41" Type="http://schemas.openxmlformats.org/officeDocument/2006/relationships/tags" Target="../tags/tag144.xml"/><Relationship Id="rId62" Type="http://schemas.openxmlformats.org/officeDocument/2006/relationships/tags" Target="../tags/tag165.xml"/><Relationship Id="rId83" Type="http://schemas.openxmlformats.org/officeDocument/2006/relationships/tags" Target="../tags/tag186.xml"/><Relationship Id="rId88" Type="http://schemas.openxmlformats.org/officeDocument/2006/relationships/tags" Target="../tags/tag191.xml"/><Relationship Id="rId111" Type="http://schemas.openxmlformats.org/officeDocument/2006/relationships/tags" Target="../tags/tag214.xml"/><Relationship Id="rId132" Type="http://schemas.openxmlformats.org/officeDocument/2006/relationships/tags" Target="../tags/tag235.xml"/><Relationship Id="rId15" Type="http://schemas.openxmlformats.org/officeDocument/2006/relationships/slideLayout" Target="../slideLayouts/slideLayout36.xml"/><Relationship Id="rId36" Type="http://schemas.openxmlformats.org/officeDocument/2006/relationships/tags" Target="../tags/tag139.xml"/><Relationship Id="rId57" Type="http://schemas.openxmlformats.org/officeDocument/2006/relationships/tags" Target="../tags/tag160.xml"/><Relationship Id="rId106" Type="http://schemas.openxmlformats.org/officeDocument/2006/relationships/tags" Target="../tags/tag209.xml"/><Relationship Id="rId127" Type="http://schemas.openxmlformats.org/officeDocument/2006/relationships/tags" Target="../tags/tag230.xml"/><Relationship Id="rId10" Type="http://schemas.openxmlformats.org/officeDocument/2006/relationships/slideLayout" Target="../slideLayouts/slideLayout31.xml"/><Relationship Id="rId31" Type="http://schemas.openxmlformats.org/officeDocument/2006/relationships/tags" Target="../tags/tag134.xml"/><Relationship Id="rId52" Type="http://schemas.openxmlformats.org/officeDocument/2006/relationships/tags" Target="../tags/tag155.xml"/><Relationship Id="rId73" Type="http://schemas.openxmlformats.org/officeDocument/2006/relationships/tags" Target="../tags/tag176.xml"/><Relationship Id="rId78" Type="http://schemas.openxmlformats.org/officeDocument/2006/relationships/tags" Target="../tags/tag181.xml"/><Relationship Id="rId94" Type="http://schemas.openxmlformats.org/officeDocument/2006/relationships/tags" Target="../tags/tag197.xml"/><Relationship Id="rId99" Type="http://schemas.openxmlformats.org/officeDocument/2006/relationships/tags" Target="../tags/tag202.xml"/><Relationship Id="rId101" Type="http://schemas.openxmlformats.org/officeDocument/2006/relationships/tags" Target="../tags/tag204.xml"/><Relationship Id="rId122" Type="http://schemas.openxmlformats.org/officeDocument/2006/relationships/tags" Target="../tags/tag225.xml"/><Relationship Id="rId143" Type="http://schemas.openxmlformats.org/officeDocument/2006/relationships/tags" Target="../tags/tag246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26" Type="http://schemas.openxmlformats.org/officeDocument/2006/relationships/tags" Target="../tags/tag129.xml"/><Relationship Id="rId47" Type="http://schemas.openxmlformats.org/officeDocument/2006/relationships/tags" Target="../tags/tag150.xml"/><Relationship Id="rId68" Type="http://schemas.openxmlformats.org/officeDocument/2006/relationships/tags" Target="../tags/tag171.xml"/><Relationship Id="rId89" Type="http://schemas.openxmlformats.org/officeDocument/2006/relationships/tags" Target="../tags/tag192.xml"/><Relationship Id="rId112" Type="http://schemas.openxmlformats.org/officeDocument/2006/relationships/tags" Target="../tags/tag215.xml"/><Relationship Id="rId133" Type="http://schemas.openxmlformats.org/officeDocument/2006/relationships/tags" Target="../tags/tag236.xml"/><Relationship Id="rId16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tags" Target="../tags/tag269.xml"/><Relationship Id="rId117" Type="http://schemas.openxmlformats.org/officeDocument/2006/relationships/tags" Target="../tags/tag360.xml"/><Relationship Id="rId21" Type="http://schemas.openxmlformats.org/officeDocument/2006/relationships/tags" Target="../tags/tag264.xml"/><Relationship Id="rId42" Type="http://schemas.openxmlformats.org/officeDocument/2006/relationships/tags" Target="../tags/tag285.xml"/><Relationship Id="rId47" Type="http://schemas.openxmlformats.org/officeDocument/2006/relationships/tags" Target="../tags/tag290.xml"/><Relationship Id="rId63" Type="http://schemas.openxmlformats.org/officeDocument/2006/relationships/tags" Target="../tags/tag306.xml"/><Relationship Id="rId68" Type="http://schemas.openxmlformats.org/officeDocument/2006/relationships/tags" Target="../tags/tag311.xml"/><Relationship Id="rId84" Type="http://schemas.openxmlformats.org/officeDocument/2006/relationships/tags" Target="../tags/tag327.xml"/><Relationship Id="rId89" Type="http://schemas.openxmlformats.org/officeDocument/2006/relationships/tags" Target="../tags/tag332.xml"/><Relationship Id="rId112" Type="http://schemas.openxmlformats.org/officeDocument/2006/relationships/tags" Target="../tags/tag355.xml"/><Relationship Id="rId16" Type="http://schemas.openxmlformats.org/officeDocument/2006/relationships/tags" Target="../tags/tag259.xml"/><Relationship Id="rId107" Type="http://schemas.openxmlformats.org/officeDocument/2006/relationships/tags" Target="../tags/tag350.xml"/><Relationship Id="rId11" Type="http://schemas.openxmlformats.org/officeDocument/2006/relationships/tags" Target="../tags/tag254.xml"/><Relationship Id="rId32" Type="http://schemas.openxmlformats.org/officeDocument/2006/relationships/tags" Target="../tags/tag275.xml"/><Relationship Id="rId37" Type="http://schemas.openxmlformats.org/officeDocument/2006/relationships/tags" Target="../tags/tag280.xml"/><Relationship Id="rId53" Type="http://schemas.openxmlformats.org/officeDocument/2006/relationships/tags" Target="../tags/tag296.xml"/><Relationship Id="rId58" Type="http://schemas.openxmlformats.org/officeDocument/2006/relationships/tags" Target="../tags/tag301.xml"/><Relationship Id="rId74" Type="http://schemas.openxmlformats.org/officeDocument/2006/relationships/tags" Target="../tags/tag317.xml"/><Relationship Id="rId79" Type="http://schemas.openxmlformats.org/officeDocument/2006/relationships/tags" Target="../tags/tag322.xml"/><Relationship Id="rId102" Type="http://schemas.openxmlformats.org/officeDocument/2006/relationships/tags" Target="../tags/tag345.xml"/><Relationship Id="rId123" Type="http://schemas.openxmlformats.org/officeDocument/2006/relationships/tags" Target="../tags/tag366.xml"/><Relationship Id="rId5" Type="http://schemas.openxmlformats.org/officeDocument/2006/relationships/tags" Target="../tags/tag248.xml"/><Relationship Id="rId90" Type="http://schemas.openxmlformats.org/officeDocument/2006/relationships/tags" Target="../tags/tag333.xml"/><Relationship Id="rId95" Type="http://schemas.openxmlformats.org/officeDocument/2006/relationships/tags" Target="../tags/tag338.xml"/><Relationship Id="rId22" Type="http://schemas.openxmlformats.org/officeDocument/2006/relationships/tags" Target="../tags/tag265.xml"/><Relationship Id="rId27" Type="http://schemas.openxmlformats.org/officeDocument/2006/relationships/tags" Target="../tags/tag270.xml"/><Relationship Id="rId43" Type="http://schemas.openxmlformats.org/officeDocument/2006/relationships/tags" Target="../tags/tag286.xml"/><Relationship Id="rId48" Type="http://schemas.openxmlformats.org/officeDocument/2006/relationships/tags" Target="../tags/tag291.xml"/><Relationship Id="rId64" Type="http://schemas.openxmlformats.org/officeDocument/2006/relationships/tags" Target="../tags/tag307.xml"/><Relationship Id="rId69" Type="http://schemas.openxmlformats.org/officeDocument/2006/relationships/tags" Target="../tags/tag312.xml"/><Relationship Id="rId113" Type="http://schemas.openxmlformats.org/officeDocument/2006/relationships/tags" Target="../tags/tag356.xml"/><Relationship Id="rId118" Type="http://schemas.openxmlformats.org/officeDocument/2006/relationships/tags" Target="../tags/tag361.xml"/><Relationship Id="rId80" Type="http://schemas.openxmlformats.org/officeDocument/2006/relationships/tags" Target="../tags/tag323.xml"/><Relationship Id="rId85" Type="http://schemas.openxmlformats.org/officeDocument/2006/relationships/tags" Target="../tags/tag328.xml"/><Relationship Id="rId12" Type="http://schemas.openxmlformats.org/officeDocument/2006/relationships/tags" Target="../tags/tag255.xml"/><Relationship Id="rId17" Type="http://schemas.openxmlformats.org/officeDocument/2006/relationships/tags" Target="../tags/tag260.xml"/><Relationship Id="rId33" Type="http://schemas.openxmlformats.org/officeDocument/2006/relationships/tags" Target="../tags/tag276.xml"/><Relationship Id="rId38" Type="http://schemas.openxmlformats.org/officeDocument/2006/relationships/tags" Target="../tags/tag281.xml"/><Relationship Id="rId59" Type="http://schemas.openxmlformats.org/officeDocument/2006/relationships/tags" Target="../tags/tag302.xml"/><Relationship Id="rId103" Type="http://schemas.openxmlformats.org/officeDocument/2006/relationships/tags" Target="../tags/tag346.xml"/><Relationship Id="rId108" Type="http://schemas.openxmlformats.org/officeDocument/2006/relationships/tags" Target="../tags/tag351.xml"/><Relationship Id="rId124" Type="http://schemas.openxmlformats.org/officeDocument/2006/relationships/tags" Target="../tags/tag367.xml"/><Relationship Id="rId54" Type="http://schemas.openxmlformats.org/officeDocument/2006/relationships/tags" Target="../tags/tag297.xml"/><Relationship Id="rId70" Type="http://schemas.openxmlformats.org/officeDocument/2006/relationships/tags" Target="../tags/tag313.xml"/><Relationship Id="rId75" Type="http://schemas.openxmlformats.org/officeDocument/2006/relationships/tags" Target="../tags/tag318.xml"/><Relationship Id="rId91" Type="http://schemas.openxmlformats.org/officeDocument/2006/relationships/tags" Target="../tags/tag334.xml"/><Relationship Id="rId96" Type="http://schemas.openxmlformats.org/officeDocument/2006/relationships/tags" Target="../tags/tag339.xml"/><Relationship Id="rId1" Type="http://schemas.openxmlformats.org/officeDocument/2006/relationships/slideLayout" Target="../slideLayouts/slideLayout42.xml"/><Relationship Id="rId6" Type="http://schemas.openxmlformats.org/officeDocument/2006/relationships/tags" Target="../tags/tag249.xml"/><Relationship Id="rId23" Type="http://schemas.openxmlformats.org/officeDocument/2006/relationships/tags" Target="../tags/tag266.xml"/><Relationship Id="rId28" Type="http://schemas.openxmlformats.org/officeDocument/2006/relationships/tags" Target="../tags/tag271.xml"/><Relationship Id="rId49" Type="http://schemas.openxmlformats.org/officeDocument/2006/relationships/tags" Target="../tags/tag292.xml"/><Relationship Id="rId114" Type="http://schemas.openxmlformats.org/officeDocument/2006/relationships/tags" Target="../tags/tag357.xml"/><Relationship Id="rId119" Type="http://schemas.openxmlformats.org/officeDocument/2006/relationships/tags" Target="../tags/tag362.xml"/><Relationship Id="rId44" Type="http://schemas.openxmlformats.org/officeDocument/2006/relationships/tags" Target="../tags/tag287.xml"/><Relationship Id="rId60" Type="http://schemas.openxmlformats.org/officeDocument/2006/relationships/tags" Target="../tags/tag303.xml"/><Relationship Id="rId65" Type="http://schemas.openxmlformats.org/officeDocument/2006/relationships/tags" Target="../tags/tag308.xml"/><Relationship Id="rId81" Type="http://schemas.openxmlformats.org/officeDocument/2006/relationships/tags" Target="../tags/tag324.xml"/><Relationship Id="rId86" Type="http://schemas.openxmlformats.org/officeDocument/2006/relationships/tags" Target="../tags/tag329.xml"/><Relationship Id="rId13" Type="http://schemas.openxmlformats.org/officeDocument/2006/relationships/tags" Target="../tags/tag256.xml"/><Relationship Id="rId18" Type="http://schemas.openxmlformats.org/officeDocument/2006/relationships/tags" Target="../tags/tag261.xml"/><Relationship Id="rId39" Type="http://schemas.openxmlformats.org/officeDocument/2006/relationships/tags" Target="../tags/tag282.xml"/><Relationship Id="rId109" Type="http://schemas.openxmlformats.org/officeDocument/2006/relationships/tags" Target="../tags/tag352.xml"/><Relationship Id="rId34" Type="http://schemas.openxmlformats.org/officeDocument/2006/relationships/tags" Target="../tags/tag277.xml"/><Relationship Id="rId50" Type="http://schemas.openxmlformats.org/officeDocument/2006/relationships/tags" Target="../tags/tag293.xml"/><Relationship Id="rId55" Type="http://schemas.openxmlformats.org/officeDocument/2006/relationships/tags" Target="../tags/tag298.xml"/><Relationship Id="rId76" Type="http://schemas.openxmlformats.org/officeDocument/2006/relationships/tags" Target="../tags/tag319.xml"/><Relationship Id="rId97" Type="http://schemas.openxmlformats.org/officeDocument/2006/relationships/tags" Target="../tags/tag340.xml"/><Relationship Id="rId104" Type="http://schemas.openxmlformats.org/officeDocument/2006/relationships/tags" Target="../tags/tag347.xml"/><Relationship Id="rId120" Type="http://schemas.openxmlformats.org/officeDocument/2006/relationships/tags" Target="../tags/tag363.xml"/><Relationship Id="rId125" Type="http://schemas.openxmlformats.org/officeDocument/2006/relationships/tags" Target="../tags/tag368.xml"/><Relationship Id="rId7" Type="http://schemas.openxmlformats.org/officeDocument/2006/relationships/tags" Target="../tags/tag250.xml"/><Relationship Id="rId71" Type="http://schemas.openxmlformats.org/officeDocument/2006/relationships/tags" Target="../tags/tag314.xml"/><Relationship Id="rId92" Type="http://schemas.openxmlformats.org/officeDocument/2006/relationships/tags" Target="../tags/tag335.xml"/><Relationship Id="rId2" Type="http://schemas.openxmlformats.org/officeDocument/2006/relationships/slideLayout" Target="../slideLayouts/slideLayout43.xml"/><Relationship Id="rId29" Type="http://schemas.openxmlformats.org/officeDocument/2006/relationships/tags" Target="../tags/tag272.xml"/><Relationship Id="rId24" Type="http://schemas.openxmlformats.org/officeDocument/2006/relationships/tags" Target="../tags/tag267.xml"/><Relationship Id="rId40" Type="http://schemas.openxmlformats.org/officeDocument/2006/relationships/tags" Target="../tags/tag283.xml"/><Relationship Id="rId45" Type="http://schemas.openxmlformats.org/officeDocument/2006/relationships/tags" Target="../tags/tag288.xml"/><Relationship Id="rId66" Type="http://schemas.openxmlformats.org/officeDocument/2006/relationships/tags" Target="../tags/tag309.xml"/><Relationship Id="rId87" Type="http://schemas.openxmlformats.org/officeDocument/2006/relationships/tags" Target="../tags/tag330.xml"/><Relationship Id="rId110" Type="http://schemas.openxmlformats.org/officeDocument/2006/relationships/tags" Target="../tags/tag353.xml"/><Relationship Id="rId115" Type="http://schemas.openxmlformats.org/officeDocument/2006/relationships/tags" Target="../tags/tag358.xml"/><Relationship Id="rId61" Type="http://schemas.openxmlformats.org/officeDocument/2006/relationships/tags" Target="../tags/tag304.xml"/><Relationship Id="rId82" Type="http://schemas.openxmlformats.org/officeDocument/2006/relationships/tags" Target="../tags/tag325.xml"/><Relationship Id="rId19" Type="http://schemas.openxmlformats.org/officeDocument/2006/relationships/tags" Target="../tags/tag262.xml"/><Relationship Id="rId14" Type="http://schemas.openxmlformats.org/officeDocument/2006/relationships/tags" Target="../tags/tag257.xml"/><Relationship Id="rId30" Type="http://schemas.openxmlformats.org/officeDocument/2006/relationships/tags" Target="../tags/tag273.xml"/><Relationship Id="rId35" Type="http://schemas.openxmlformats.org/officeDocument/2006/relationships/tags" Target="../tags/tag278.xml"/><Relationship Id="rId56" Type="http://schemas.openxmlformats.org/officeDocument/2006/relationships/tags" Target="../tags/tag299.xml"/><Relationship Id="rId77" Type="http://schemas.openxmlformats.org/officeDocument/2006/relationships/tags" Target="../tags/tag320.xml"/><Relationship Id="rId100" Type="http://schemas.openxmlformats.org/officeDocument/2006/relationships/tags" Target="../tags/tag343.xml"/><Relationship Id="rId105" Type="http://schemas.openxmlformats.org/officeDocument/2006/relationships/tags" Target="../tags/tag348.xml"/><Relationship Id="rId126" Type="http://schemas.openxmlformats.org/officeDocument/2006/relationships/tags" Target="../tags/tag369.xml"/><Relationship Id="rId8" Type="http://schemas.openxmlformats.org/officeDocument/2006/relationships/tags" Target="../tags/tag251.xml"/><Relationship Id="rId51" Type="http://schemas.openxmlformats.org/officeDocument/2006/relationships/tags" Target="../tags/tag294.xml"/><Relationship Id="rId72" Type="http://schemas.openxmlformats.org/officeDocument/2006/relationships/tags" Target="../tags/tag315.xml"/><Relationship Id="rId93" Type="http://schemas.openxmlformats.org/officeDocument/2006/relationships/tags" Target="../tags/tag336.xml"/><Relationship Id="rId98" Type="http://schemas.openxmlformats.org/officeDocument/2006/relationships/tags" Target="../tags/tag341.xml"/><Relationship Id="rId121" Type="http://schemas.openxmlformats.org/officeDocument/2006/relationships/tags" Target="../tags/tag364.xml"/><Relationship Id="rId3" Type="http://schemas.openxmlformats.org/officeDocument/2006/relationships/slideLayout" Target="../slideLayouts/slideLayout44.xml"/><Relationship Id="rId25" Type="http://schemas.openxmlformats.org/officeDocument/2006/relationships/tags" Target="../tags/tag268.xml"/><Relationship Id="rId46" Type="http://schemas.openxmlformats.org/officeDocument/2006/relationships/tags" Target="../tags/tag289.xml"/><Relationship Id="rId67" Type="http://schemas.openxmlformats.org/officeDocument/2006/relationships/tags" Target="../tags/tag310.xml"/><Relationship Id="rId116" Type="http://schemas.openxmlformats.org/officeDocument/2006/relationships/tags" Target="../tags/tag359.xml"/><Relationship Id="rId20" Type="http://schemas.openxmlformats.org/officeDocument/2006/relationships/tags" Target="../tags/tag263.xml"/><Relationship Id="rId41" Type="http://schemas.openxmlformats.org/officeDocument/2006/relationships/tags" Target="../tags/tag284.xml"/><Relationship Id="rId62" Type="http://schemas.openxmlformats.org/officeDocument/2006/relationships/tags" Target="../tags/tag305.xml"/><Relationship Id="rId83" Type="http://schemas.openxmlformats.org/officeDocument/2006/relationships/tags" Target="../tags/tag326.xml"/><Relationship Id="rId88" Type="http://schemas.openxmlformats.org/officeDocument/2006/relationships/tags" Target="../tags/tag331.xml"/><Relationship Id="rId111" Type="http://schemas.openxmlformats.org/officeDocument/2006/relationships/tags" Target="../tags/tag354.xml"/><Relationship Id="rId15" Type="http://schemas.openxmlformats.org/officeDocument/2006/relationships/tags" Target="../tags/tag258.xml"/><Relationship Id="rId36" Type="http://schemas.openxmlformats.org/officeDocument/2006/relationships/tags" Target="../tags/tag279.xml"/><Relationship Id="rId57" Type="http://schemas.openxmlformats.org/officeDocument/2006/relationships/tags" Target="../tags/tag300.xml"/><Relationship Id="rId106" Type="http://schemas.openxmlformats.org/officeDocument/2006/relationships/tags" Target="../tags/tag349.xml"/><Relationship Id="rId127" Type="http://schemas.openxmlformats.org/officeDocument/2006/relationships/tags" Target="../tags/tag370.xml"/><Relationship Id="rId10" Type="http://schemas.openxmlformats.org/officeDocument/2006/relationships/tags" Target="../tags/tag253.xml"/><Relationship Id="rId31" Type="http://schemas.openxmlformats.org/officeDocument/2006/relationships/tags" Target="../tags/tag274.xml"/><Relationship Id="rId52" Type="http://schemas.openxmlformats.org/officeDocument/2006/relationships/tags" Target="../tags/tag295.xml"/><Relationship Id="rId73" Type="http://schemas.openxmlformats.org/officeDocument/2006/relationships/tags" Target="../tags/tag316.xml"/><Relationship Id="rId78" Type="http://schemas.openxmlformats.org/officeDocument/2006/relationships/tags" Target="../tags/tag321.xml"/><Relationship Id="rId94" Type="http://schemas.openxmlformats.org/officeDocument/2006/relationships/tags" Target="../tags/tag337.xml"/><Relationship Id="rId99" Type="http://schemas.openxmlformats.org/officeDocument/2006/relationships/tags" Target="../tags/tag342.xml"/><Relationship Id="rId101" Type="http://schemas.openxmlformats.org/officeDocument/2006/relationships/tags" Target="../tags/tag344.xml"/><Relationship Id="rId122" Type="http://schemas.openxmlformats.org/officeDocument/2006/relationships/tags" Target="../tags/tag365.xml"/><Relationship Id="rId4" Type="http://schemas.openxmlformats.org/officeDocument/2006/relationships/theme" Target="../theme/theme3.xml"/><Relationship Id="rId9" Type="http://schemas.openxmlformats.org/officeDocument/2006/relationships/tags" Target="../tags/tag2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"/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  <p:sp>
        <p:nvSpPr>
          <p:cNvPr id="12" name="Copyright Placeholder" descr="{&quot;templafy&quot;:{&quot;id&quot;:&quot;3fb88df3-eaa2-4d6d-adef-56a3d48829d6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23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24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25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3CB674C2-91C9-46E6-8AB4-E90ABF1CAFE0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5" r:id="rId3"/>
    <p:sldLayoutId id="2147483741" r:id="rId4"/>
    <p:sldLayoutId id="2147483765" r:id="rId5"/>
    <p:sldLayoutId id="2147483767" r:id="rId6"/>
    <p:sldLayoutId id="2147483743" r:id="rId7"/>
    <p:sldLayoutId id="2147483774" r:id="rId8"/>
    <p:sldLayoutId id="2147483745" r:id="rId9"/>
    <p:sldLayoutId id="2147483760" r:id="rId10"/>
    <p:sldLayoutId id="2147483768" r:id="rId11"/>
    <p:sldLayoutId id="2147483769" r:id="rId12"/>
    <p:sldLayoutId id="2147483770" r:id="rId13"/>
    <p:sldLayoutId id="2147483744" r:id="rId14"/>
    <p:sldLayoutId id="2147483757" r:id="rId15"/>
    <p:sldLayoutId id="2147483771" r:id="rId16"/>
    <p:sldLayoutId id="2147483763" r:id="rId17"/>
    <p:sldLayoutId id="2147483751" r:id="rId18"/>
    <p:sldLayoutId id="2147483756" r:id="rId19"/>
    <p:sldLayoutId id="2147483740" r:id="rId20"/>
    <p:sldLayoutId id="2147483839" r:id="rId21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"/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opyright Placeholder" descr="{&quot;templafy&quot;:{&quot;id&quot;:&quot;a3036962-ab0a-4906-9dc7-289e0866334f&quot;}}">
            <a:extLst>
              <a:ext uri="{FF2B5EF4-FFF2-40B4-BE49-F238E27FC236}">
                <a16:creationId xmlns:a16="http://schemas.microsoft.com/office/drawing/2014/main" id="{28F8FEF7-307E-4186-BE83-C7F901EBFBB2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0"/>
            <a:ext cx="10155600" cy="13849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7" name="Harvey 3" hidden="1">
            <a:extLst>
              <a:ext uri="{FF2B5EF4-FFF2-40B4-BE49-F238E27FC236}">
                <a16:creationId xmlns:a16="http://schemas.microsoft.com/office/drawing/2014/main" id="{E2DD6C7F-2784-4085-B35E-D0CF93151D32}"/>
              </a:ext>
            </a:extLst>
          </p:cNvPr>
          <p:cNvGrpSpPr>
            <a:grpSpLocks/>
          </p:cNvGrpSpPr>
          <p:nvPr userDrawn="1">
            <p:custDataLst>
              <p:tags r:id="rId22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8" name="Harvey 0/3 [0]">
              <a:extLst>
                <a:ext uri="{FF2B5EF4-FFF2-40B4-BE49-F238E27FC236}">
                  <a16:creationId xmlns:a16="http://schemas.microsoft.com/office/drawing/2014/main" id="{76D1956A-873B-484E-BE75-6EDE3EFEDCC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1/3 [1]">
              <a:extLst>
                <a:ext uri="{FF2B5EF4-FFF2-40B4-BE49-F238E27FC236}">
                  <a16:creationId xmlns:a16="http://schemas.microsoft.com/office/drawing/2014/main" id="{7A8F53B0-6F79-4898-A0C4-A91F7DB00E6A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2/3 [2]">
              <a:extLst>
                <a:ext uri="{FF2B5EF4-FFF2-40B4-BE49-F238E27FC236}">
                  <a16:creationId xmlns:a16="http://schemas.microsoft.com/office/drawing/2014/main" id="{67E7417D-4B0A-4A13-A4D7-B51B7C58CC54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Harvey 3/3 [3]">
              <a:extLst>
                <a:ext uri="{FF2B5EF4-FFF2-40B4-BE49-F238E27FC236}">
                  <a16:creationId xmlns:a16="http://schemas.microsoft.com/office/drawing/2014/main" id="{94AD8207-D125-429F-A09F-08C9EE19B157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Harvey 4" hidden="1">
            <a:extLst>
              <a:ext uri="{FF2B5EF4-FFF2-40B4-BE49-F238E27FC236}">
                <a16:creationId xmlns:a16="http://schemas.microsoft.com/office/drawing/2014/main" id="{6B608003-5C72-434E-8F1C-BF7F4CA4A26C}"/>
              </a:ext>
            </a:extLst>
          </p:cNvPr>
          <p:cNvGrpSpPr>
            <a:grpSpLocks/>
          </p:cNvGrpSpPr>
          <p:nvPr userDrawn="1">
            <p:custDataLst>
              <p:tags r:id="rId23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0467B57E-FAD8-4950-97F9-ECAB5EC75227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37FDC8-754C-4807-899B-A34C337B435F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500E3869-B32B-4A08-829A-07819962707F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83770D17-214F-4DFB-8C4A-75BCB6FDCCF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2298CBDE-E2CD-44DD-81DA-565BDE17B854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65A741E4-88C1-4827-B19E-63A8295DED86}"/>
              </a:ext>
            </a:extLst>
          </p:cNvPr>
          <p:cNvGrpSpPr>
            <a:grpSpLocks/>
          </p:cNvGrpSpPr>
          <p:nvPr userDrawn="1">
            <p:custDataLst>
              <p:tags r:id="rId24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D63D2936-46EA-44E4-95BC-083F8C581A0C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D096D980-9CFC-4294-9B40-92841B87F312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9B0FC65-F825-4960-BF8A-E86755376C2C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72489F0D-9F1E-4F64-B7DC-7C979BD81FA6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4F47161A-836E-4CB2-97C4-5ABCB035EE25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D80539EF-20E9-4266-BD06-3959673E5243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C88D2627-1A78-4152-B77C-58669AC49F36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F8117399-4ECF-44E9-9BC8-A7C83760976C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B912D41C-14ED-4BE0-96D3-6AEB2ED794D2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2C4AA9A9-EE14-41CD-8AD6-AC987D77FC05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0B60B67C-997A-4EB0-98E0-CA4E4E4B5118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7DAEEFA9-09E0-4535-8058-345772E9D551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C84C906D-AC0F-4F5B-B334-51FDEA499286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5331B348-43F5-457E-9C20-7EAAD007F74A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18D263CF-2B62-4C47-BE83-FD72BDBDB277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DB8F581D-8CF4-44A7-B4F4-0DE74457F251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383A6352-9EAD-4A05-8ABD-66158F752B74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AC78B9F4-DF17-4E2D-9790-668D5CEC3049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2577ED03-E1A5-42A1-8DCD-AEFD054EB873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9B167A94-DCC5-461B-9970-C5FFF47CB641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5A26E699-12E3-4167-ADED-3C1AF764FAA3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820A8FC-3CE4-4CBA-BAE6-398A7F026B55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31F16729-DFEC-43AE-96FD-5ADAD841109F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E4398C50-BFFD-487F-93AC-1F2177BB3B86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675D9417-20D9-4833-9CE5-50B086713780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666FBE4-3CEE-43B7-83C1-0C2A47739511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F979B8E0-5904-481A-B1E1-9C6D95DF9F7C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71716968-2083-4153-9DAA-3F8C26432ACE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C1D12AF8-310A-4A60-A8D9-E26C9D0D94FD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587885C-11FD-4365-93C9-369845C5B1D3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0DFEA4D6-DB33-4BA0-9B39-C6DC449D6DCF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6B616720-F062-4402-A6C1-F4CBA52171D3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2E4A5CA2-E839-4E73-A274-49DE99B1C50F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3DCD53C2-A835-4CB8-9468-2C92013F44B5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0BD9113F-8ACE-463E-BEF7-5D2C960A1E3D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A0C79897-7FEB-441B-A4CB-F5B74F5352FA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88DEA423-7272-4270-BD71-9ACAEB894DD2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ABF9DC9D-9784-42F7-9BC1-D959BA5B29A9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253A0F1B-274A-4C2F-8909-10DCC3C664C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F088766A-C09E-41AD-B4A8-037680E089A0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33917A65-AD51-4648-AAB4-80520AB0DF59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60CB2766-A8A0-4EC5-93AC-A9FA9B2EDF87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CAC81949-5BCB-4FFD-9284-D4C754DB7E63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86CD47EE-4D9E-42B8-B6AB-5866BABF0A8C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0F21930-7819-4484-8BC2-24ADAFBF4661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6BAC333F-8F1A-461D-A13A-543036E6C360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C3343ED1-4EC6-4E9E-B0D4-04063CCDCBA5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A708B5F6-5DEF-4C81-B17E-B40298FAFF37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A66921B0-1234-4643-AEDF-EA370AB72678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33DF93CE-4BEC-4E23-B207-3A3D24BA88DB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743BBE64-E8AE-431B-A3F5-0BC3EFCF170A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9A92A148-61C9-4A68-B88F-DEBF70F366D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E95B2275-79DF-4600-968F-4A342730E5D7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0EDDDB89-4687-4E79-B4A5-CEA4DC104A0F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C55ACE0A-FE8C-4946-90E5-595C4B50ECB8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C3C97B00-88DC-4936-B5A6-A08A75F0ABB5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92F6FFA4-3CBC-4B59-9D72-AFC05873917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4E849BB4-2601-4C2B-B994-35A1C0E7E5CA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94CAB759-7BC1-4DBC-B899-C726287011FE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046DACFB-25FF-4C07-9C05-79EA15EE9F0E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D5CE1598-6D7A-4D44-8C77-406476D5C52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F2DF6732-AEFD-4697-BC9B-C58EB9BA8E40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16803592-72AA-4516-A884-525A808682B4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5F99AC13-0D56-4AE3-AEA7-5C4F5708B17A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541F1DB6-93AE-4A84-AB2D-8BC8F86C3D84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D502E6B1-F368-4550-A4D3-B3010A99F663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4720ED11-4A42-479C-84D4-DDDADFCA8B0B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21A74775-B349-48A0-8EB3-EB08D561D6B0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0B6A7A23-5EE1-4D66-89A0-9F9216A2BE97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97A2BD28-5A14-44CC-AF36-E25E51CB04F9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FD9F7980-1AFD-41C1-8F06-2BD58E9E7DB3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1F6026E1-58EA-4165-9806-8320F1A2151F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6D59B6D1-D4A0-486E-B6B9-3FE8ECF9C85C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72CA5142-D8D9-42C7-8426-2AAC92BBC5C5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8C402CD6-E17F-4364-A73B-136161E50AD6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01BAEB30-CD03-4381-BDDE-20B657FE5739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A3D46CD0-3F66-416E-BAFF-126E1A4784A7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0F1B6B8A-04A8-44E5-84B4-58A3959BB46B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06028C46-1883-45B7-8314-A8D2BF1FBD61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F99BDCEF-D0B7-4B1D-9B03-512515EB7624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CC7813EC-4BD1-43A5-BA1A-26ACB8B2E6FA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8162D4CF-AA2B-4374-92D5-BD31E37529FF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710989EA-C787-4E9F-8213-206712EC3CFE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67A73065-5334-4F41-A369-8EB437B331D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14727066-BEC2-49F3-AA3E-E3A425402AE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113B9B44-4595-4732-933D-6C0AA7F533BB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06EBC64F-EA62-4482-A2A7-5939C0723B11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33897A80-E31B-4861-AB97-6833FD1866E7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B0225A30-1CA9-4637-83EA-DCD6E18DED7D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97423E78-84B8-41A4-88C0-2B85AECC0B84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0A0180-433B-47A5-BF80-1EEB17480B28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9926ED4B-698A-4425-A478-27C93E5CE58B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7D7BFD81-01C8-4719-9A58-A31303343AA6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C087B679-2D15-4E9F-B11A-BB0FE103AF93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11D03C6A-977B-4008-8A7A-3E2151BE46B2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082E0242-5963-4F00-A534-FEF1C51B9AFA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52079047-834D-4C25-BFD9-12E3AD917B28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203379C-10FF-442E-9FC3-2B647AC3BDFD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92333550-029A-4109-95FE-C047B815C2DF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1F32300F-FDD5-4B38-864C-CB443526AD71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697ADF22-F97D-4F1C-BCC7-E4612CB741D3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9056A6F9-3DA3-4E9B-9E20-5113253AFD24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AE2D63FA-5325-44CA-8AD7-EF0DF6F08E6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FAC70D65-FE27-4362-B6CB-C8E98F2364A0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81AD4C59-EFEF-459D-A27F-15A146895412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10332771-7241-4A69-9E3B-39EE0DD599DB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ECCA8BB1-856A-44D2-836F-0D09CCB6E639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817876D5-B5AE-4CB9-91F0-3216E405ABFC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590CBEB8-26D2-44A7-AFC9-3B1CFAFBFD58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9E11B621-B7C7-42B9-B8C0-3204D6DB8B09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D0CABEAB-553B-494A-B777-460445E83DC6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68B218BD-395A-4502-A94E-A08DE8654F26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A7961E44-961D-4848-8CEB-1EFCB33CB293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37E592D2-D46E-4E6F-83FE-862FA73EFB5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4CFF5549-C64F-4551-8F2F-5D3B660A3675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8FE9E35B-59B2-4A10-A724-3DFA5A54B44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A4D308D9-9560-4C6C-90F4-615C4E747CF1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27E0EE38-41B7-4F78-8FF1-CBCB26374803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2FE8C0B9-ACE9-4D2C-ADF2-5408026F7DD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C71CC93-5EE5-4874-AD2D-4189352D970E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48CE323D-DC14-4B3E-B71E-DD8022C75652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15AE75A8-6AB5-4AF9-9E1C-D8D161F64E6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06017179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4" r:id="rId16"/>
    <p:sldLayoutId id="2147483835" r:id="rId17"/>
    <p:sldLayoutId id="2147483836" r:id="rId18"/>
    <p:sldLayoutId id="2147483837" r:id="rId19"/>
    <p:sldLayoutId id="2147483838" r:id="rId20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19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6F6D7778-F272-4F12-ADD2-8AE6FF10DDDC}"/>
              </a:ext>
            </a:extLst>
          </p:cNvPr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  <p:sp>
        <p:nvSpPr>
          <p:cNvPr id="8" name="Text Placeholder 9" descr="{&quot;templafy&quot;:{&quot;id&quot;:&quot;426829f3-a068-40dd-990f-0d6c65b91b0a&quot;}}">
            <a:extLst>
              <a:ext uri="{FF2B5EF4-FFF2-40B4-BE49-F238E27FC236}">
                <a16:creationId xmlns:a16="http://schemas.microsoft.com/office/drawing/2014/main" id="{E2298AE1-CDB8-4D61-8E3E-B33DFA9BF7BF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8DC1505A-D53E-46CB-98E1-B26FE6EF50E2}"/>
              </a:ext>
            </a:extLst>
          </p:cNvPr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B03385C0-FA62-482E-86F8-51D141991BA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1/3 [1]">
              <a:extLst>
                <a:ext uri="{FF2B5EF4-FFF2-40B4-BE49-F238E27FC236}">
                  <a16:creationId xmlns:a16="http://schemas.microsoft.com/office/drawing/2014/main" id="{2AF839AF-2E27-4E20-AC45-63BF5A3D6D5B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2/3 [2]">
              <a:extLst>
                <a:ext uri="{FF2B5EF4-FFF2-40B4-BE49-F238E27FC236}">
                  <a16:creationId xmlns:a16="http://schemas.microsoft.com/office/drawing/2014/main" id="{2BBEF0FA-98A4-41EB-8C3C-CDC4A995229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Harvey 3/3 [3]">
              <a:extLst>
                <a:ext uri="{FF2B5EF4-FFF2-40B4-BE49-F238E27FC236}">
                  <a16:creationId xmlns:a16="http://schemas.microsoft.com/office/drawing/2014/main" id="{588E309A-5C95-4579-A744-8BCF77C6484D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Harvey 4" hidden="1">
            <a:extLst>
              <a:ext uri="{FF2B5EF4-FFF2-40B4-BE49-F238E27FC236}">
                <a16:creationId xmlns:a16="http://schemas.microsoft.com/office/drawing/2014/main" id="{FAAF2626-AAF4-4D60-8827-D9A28E763C6A}"/>
              </a:ext>
            </a:extLst>
          </p:cNvPr>
          <p:cNvGrpSpPr>
            <a:grpSpLocks/>
          </p:cNvGrpSpPr>
          <p:nvPr userDrawn="1">
            <p:custDataLst>
              <p:tags r:id="rId6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4" name="Harvey 0/4 [0]">
              <a:extLst>
                <a:ext uri="{FF2B5EF4-FFF2-40B4-BE49-F238E27FC236}">
                  <a16:creationId xmlns:a16="http://schemas.microsoft.com/office/drawing/2014/main" id="{2DF0EC80-934B-46F9-B89F-1A2188954F1C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1/4 [1]">
              <a:extLst>
                <a:ext uri="{FF2B5EF4-FFF2-40B4-BE49-F238E27FC236}">
                  <a16:creationId xmlns:a16="http://schemas.microsoft.com/office/drawing/2014/main" id="{1A34F556-9FC3-43DE-B08C-349BA9AF8100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2/4 [2]">
              <a:extLst>
                <a:ext uri="{FF2B5EF4-FFF2-40B4-BE49-F238E27FC236}">
                  <a16:creationId xmlns:a16="http://schemas.microsoft.com/office/drawing/2014/main" id="{B4650B2C-1EE2-4EBC-AAA6-824B8B062675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3/4 [3]">
              <a:extLst>
                <a:ext uri="{FF2B5EF4-FFF2-40B4-BE49-F238E27FC236}">
                  <a16:creationId xmlns:a16="http://schemas.microsoft.com/office/drawing/2014/main" id="{E1D9DFDA-DACB-4022-B941-267860F5012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Harvey 4/4 [4]">
              <a:extLst>
                <a:ext uri="{FF2B5EF4-FFF2-40B4-BE49-F238E27FC236}">
                  <a16:creationId xmlns:a16="http://schemas.microsoft.com/office/drawing/2014/main" id="{535A9AAC-D900-41AC-A7D2-7B637F94A43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Harvey 8" hidden="1">
            <a:extLst>
              <a:ext uri="{FF2B5EF4-FFF2-40B4-BE49-F238E27FC236}">
                <a16:creationId xmlns:a16="http://schemas.microsoft.com/office/drawing/2014/main" id="{ED8A5D7C-2D26-46E7-AB93-04C15BD4F716}"/>
              </a:ext>
            </a:extLst>
          </p:cNvPr>
          <p:cNvGrpSpPr>
            <a:grpSpLocks/>
          </p:cNvGrpSpPr>
          <p:nvPr userDrawn="1">
            <p:custDataLst>
              <p:tags r:id="rId7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20" name="Harvey 0/8 [0]">
              <a:extLst>
                <a:ext uri="{FF2B5EF4-FFF2-40B4-BE49-F238E27FC236}">
                  <a16:creationId xmlns:a16="http://schemas.microsoft.com/office/drawing/2014/main" id="{7D039D96-0D6A-4F0E-B841-1D6BDE482450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1/8 [1]">
              <a:extLst>
                <a:ext uri="{FF2B5EF4-FFF2-40B4-BE49-F238E27FC236}">
                  <a16:creationId xmlns:a16="http://schemas.microsoft.com/office/drawing/2014/main" id="{B3C7964C-88AB-43A7-A51A-B4AB84CE7A54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2/8 [2]">
              <a:extLst>
                <a:ext uri="{FF2B5EF4-FFF2-40B4-BE49-F238E27FC236}">
                  <a16:creationId xmlns:a16="http://schemas.microsoft.com/office/drawing/2014/main" id="{C7AE6770-5215-45FF-B014-86AA2ECC4829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3/8 [3]">
              <a:extLst>
                <a:ext uri="{FF2B5EF4-FFF2-40B4-BE49-F238E27FC236}">
                  <a16:creationId xmlns:a16="http://schemas.microsoft.com/office/drawing/2014/main" id="{E8B0F36E-0ABF-4BAA-A7DF-E85B8A54FB43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4/8 [4]">
              <a:extLst>
                <a:ext uri="{FF2B5EF4-FFF2-40B4-BE49-F238E27FC236}">
                  <a16:creationId xmlns:a16="http://schemas.microsoft.com/office/drawing/2014/main" id="{E3A6F114-74F3-42E9-A2FB-6219EF85DF8F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5/8 [5]">
              <a:extLst>
                <a:ext uri="{FF2B5EF4-FFF2-40B4-BE49-F238E27FC236}">
                  <a16:creationId xmlns:a16="http://schemas.microsoft.com/office/drawing/2014/main" id="{12F75908-AEE9-43DD-AD5A-408EF10384C2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6/8 [6]">
              <a:extLst>
                <a:ext uri="{FF2B5EF4-FFF2-40B4-BE49-F238E27FC236}">
                  <a16:creationId xmlns:a16="http://schemas.microsoft.com/office/drawing/2014/main" id="{E082B21E-784F-4399-879D-0628B9A6CA6A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7/8 [7]">
              <a:extLst>
                <a:ext uri="{FF2B5EF4-FFF2-40B4-BE49-F238E27FC236}">
                  <a16:creationId xmlns:a16="http://schemas.microsoft.com/office/drawing/2014/main" id="{3D4BC633-AE3B-406A-9741-3CECDA703A70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8" name="Harvey 8/8 [8]">
              <a:extLst>
                <a:ext uri="{FF2B5EF4-FFF2-40B4-BE49-F238E27FC236}">
                  <a16:creationId xmlns:a16="http://schemas.microsoft.com/office/drawing/2014/main" id="{FB04349D-8A21-4FA2-8C36-160BB39F77DB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Harvey 100" hidden="1">
            <a:extLst>
              <a:ext uri="{FF2B5EF4-FFF2-40B4-BE49-F238E27FC236}">
                <a16:creationId xmlns:a16="http://schemas.microsoft.com/office/drawing/2014/main" id="{FEA31CD5-AF74-430B-8937-99211CF7A86A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30" name="Harvey 0/100 [0]">
              <a:extLst>
                <a:ext uri="{FF2B5EF4-FFF2-40B4-BE49-F238E27FC236}">
                  <a16:creationId xmlns:a16="http://schemas.microsoft.com/office/drawing/2014/main" id="{5F002AD4-5F39-46E2-9F29-123EB3332123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1/100 [1]">
              <a:extLst>
                <a:ext uri="{FF2B5EF4-FFF2-40B4-BE49-F238E27FC236}">
                  <a16:creationId xmlns:a16="http://schemas.microsoft.com/office/drawing/2014/main" id="{DABA7BE6-CDF6-4FF3-B498-95C4AE35FF74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2/100 [2]">
              <a:extLst>
                <a:ext uri="{FF2B5EF4-FFF2-40B4-BE49-F238E27FC236}">
                  <a16:creationId xmlns:a16="http://schemas.microsoft.com/office/drawing/2014/main" id="{82A87DF7-E27E-4604-A2B7-629CBBFE62FF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3/100 [3]">
              <a:extLst>
                <a:ext uri="{FF2B5EF4-FFF2-40B4-BE49-F238E27FC236}">
                  <a16:creationId xmlns:a16="http://schemas.microsoft.com/office/drawing/2014/main" id="{4317D585-B3EC-4DA3-8086-AAC424E42AC8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Harvey 4/100 [4]">
              <a:extLst>
                <a:ext uri="{FF2B5EF4-FFF2-40B4-BE49-F238E27FC236}">
                  <a16:creationId xmlns:a16="http://schemas.microsoft.com/office/drawing/2014/main" id="{C3DDBA3C-91F3-4FDD-93EF-64F1A71E4620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955D9A72-A1B1-4430-8899-6EA8CDB57BC4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F17AA925-8E7C-4E48-9B34-CEB374E4482F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0D10FB2-DDAD-4A9A-97DC-337072825B76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3C8B0442-BB66-4269-8B84-78DFFC9B5D03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6FC76F65-3AF9-4E83-89E6-4625A93ACC44}"/>
                </a:ext>
              </a:extLst>
            </p:cNvPr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A551B3DC-E53E-48F4-9837-11D36FEFD185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1AA92C73-78F8-4C49-8B1C-F9D7FDF29119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A5815C32-B3F1-4806-B3FC-0B34A002B9A8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BCB20F8A-9ED2-456B-B77B-D0ED64F5F8D6}"/>
                </a:ext>
              </a:extLst>
            </p:cNvPr>
            <p:cNvSpPr>
              <a:spLocks noChangeAspect="1"/>
            </p:cNvSpPr>
            <p:nvPr>
              <p:custDataLst>
                <p:tags r:id="rId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BB501452-143B-4646-AFAA-19BBA74E5EEF}"/>
                </a:ext>
              </a:extLst>
            </p:cNvPr>
            <p:cNvSpPr>
              <a:spLocks noChangeAspect="1"/>
            </p:cNvSpPr>
            <p:nvPr>
              <p:custDataLst>
                <p:tags r:id="rId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4E1610D0-A2F8-40E5-B9E9-B9F4ADE84C4F}"/>
                </a:ext>
              </a:extLst>
            </p:cNvPr>
            <p:cNvSpPr>
              <a:spLocks noChangeAspect="1"/>
            </p:cNvSpPr>
            <p:nvPr>
              <p:custDataLst>
                <p:tags r:id="rId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D546B0D-BEEC-4402-9C93-0F0A501089DF}"/>
                </a:ext>
              </a:extLst>
            </p:cNvPr>
            <p:cNvSpPr>
              <a:spLocks noChangeAspect="1"/>
            </p:cNvSpPr>
            <p:nvPr>
              <p:custDataLst>
                <p:tags r:id="rId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96054A1A-69A4-4D72-80DA-B36810A13E31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A255192B-3D4F-4F14-8B7E-7D5B27AF8124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2463C1CE-78FE-4461-A9B7-C75EA8A9BB11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4728CF39-D3DE-423C-8161-15E78C37CF68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AB9FECCB-7845-4DC1-A3DF-794D6C20BAFA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23173878-638A-447C-87AE-DA1B71FFED22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E9414276-F6FB-4251-AD20-EEB07DC67FA7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6743654D-4BD9-4688-87D0-A555060F7F44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3728644-05FA-4385-B2AE-51BDE2F500AF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48BAA2F8-77AD-4F0E-BAB8-E0B69855A783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96219058-74F9-4FB6-B3DF-396DDEA8C820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53EB2F4A-330A-4D2D-BDCA-00ADB39E35A4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11BFFC4F-82C0-48FC-9731-68ED638028E2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B86820E6-F331-4956-BB3C-F026503EC77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04E8E28D-6A69-48B9-BD5A-627B016DEC30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D4F055B1-57CA-468B-BFF5-B09CC09B7F8E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A13FE822-6756-41D8-9FEE-CDCCCFD70D4E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C0428AB4-531C-4FB0-BEE9-A34E1CE3DFDB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E3AA9F5-25B0-4D0A-BA39-80AE52C31FD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8671F1B4-3564-48D3-80D9-366792282DB0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3A63619A-8CA1-4B1A-85CD-335017F977BB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F07198F2-D644-45A1-B0C6-9AAA450B0B4F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D66457F8-1D40-4CF6-BE06-BF2C73978B03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400C163E-457D-4851-8DE9-6044378DACD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400ECAC2-B757-45C2-8548-03D5903937F8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EB940494-301C-49A5-B898-9E2F6AD8C751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E38BF466-C8AC-4453-964C-0721723B3488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DF49DF1E-332B-43E4-9F7D-89231565DE6E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42546EA4-E042-4C37-B531-00EA031B1081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336A402D-2A22-4FA9-94E3-3417999DF4C6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B77E3120-DBD8-46FF-8E81-468CB9CA5556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C7DE051B-949B-435F-8FE3-5AC23BD79F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CE87981A-50DC-469B-9BED-E410D9C4523C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09000150-37F1-44E7-90CE-823F3D818627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7C390C9B-400C-4298-9451-DDA21AE072A5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CD74444C-FD06-494D-A86F-F5A9EF3DF948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71C059AD-2B8D-4AC3-97AC-1C49D7484794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B31C6B8A-F9DD-4E14-B631-766D96C6886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0BD4C0AF-89CD-4C1B-957F-8CA5A314A7FE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91B10105-1727-4B9C-8FCD-3D334C87BDE6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10898073-8095-4DE7-AD95-0F8C96BC360A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6DAC7101-D4D8-448C-A304-03FD92F4726B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217FF511-93A0-4626-AD9A-E3C9223AB082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B174582B-2B02-49C0-BF3C-2F590DA4B37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33DB99C1-7490-4472-9497-92CB0A05D37F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5B3273E3-981C-4F41-B7C3-9586D2DDB606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B054D749-7282-4A1A-A3AE-FCEA23483CB5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FAD20644-5B4D-4DCF-905C-ADF42E9EB48E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209F7C97-D7C7-4B24-BA42-05A1577E875F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DF1C9977-12F0-4A6D-80C6-EE308E12725D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A71F6A66-C058-4F2F-B290-FA1CC991F64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3DEC417F-7D71-4C5B-8085-B1583B2FCCC6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96A13EE1-EC22-4C01-B4AB-3EF6602FDFBA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EFB4A714-9F67-4868-825D-66C4F537A5E2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F19A226F-E078-4A46-A954-75FADD25402D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756F7D21-1D93-4B57-ABFA-EE5584CBC7E6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8B48008C-A1AB-43F4-817D-5E481F7E9337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565E5A64-245E-4A5F-89BD-4A608EAB3F91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4D5F9994-73C2-4C23-BA0B-7566D8BE9160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BD448083-14BE-4295-B4A4-AED8235312B8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77931D2B-536D-4DE6-AE4C-CB9EA4DE4C61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53E1ED11-19DD-4DE4-B566-1978E4E0FAF7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CCE175F0-4184-4D43-8EF9-EA2D4C1192B8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0A3700C8-F53E-4767-B37F-AC04E744EBAC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0BEC1370-E4B6-4E47-8F9F-15D7D8FB2CFC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4C25E3D8-02DA-44CC-A566-01AA84DC7AE3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D30E4CAB-D224-4135-96E3-C41420C5FF8C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86971F1C-765A-4BE9-BB2E-62BD40EB7C96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7027B79D-E0DD-4E78-BF9B-DF2A0C530F79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B7FD9411-38FE-4E5A-9662-49E94C7C02F5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9BFDFBFF-FD42-440B-83A2-ED71871262A4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CAD5BB42-5CEB-4C55-8223-90413902CB0C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69C7B28D-51E4-4227-9093-C514D42A9005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3BEADF39-E00B-498D-8CC9-1D5C22643BCD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110E6742-673F-4B41-964A-7CDD1E4E1D69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86471447-BD67-40A7-9F08-A43B4D8F8BD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4C0E595D-9D01-413C-9699-82CFF38A783B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E50798B7-8A83-431E-9EF2-5D67851CA417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D43B84EE-C86E-4D3F-90D2-DFB5E1CCA1D6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96EA00D-C888-4D50-B739-5199600A5DE5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0045E86D-0114-4DFD-BC58-E46759227C9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464F7942-D723-4D2E-91EA-3AEF84D34459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C8E37BA9-454A-4082-B576-FC335CC3F86E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B0BC0277-15E0-4AB3-BCCF-B6B586D4D83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8495ADBB-87DF-4E47-9C91-45D9C4AC8F45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B468B29C-7B96-4569-96EE-F47CF951513B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9A1CD764-7821-44EC-ADA1-C483C992546C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B6FC9C5D-FC2A-46D7-A941-BF2C841A2865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EF8BE20D-18E3-40D7-A5DA-108105F38AFC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5EB5107-168F-4341-A51A-3E0EC2311F1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929BCB4-707F-4791-A475-B37763C376C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26325548-081C-48A0-A68E-5CA2A59148D7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A43B4339-3778-4A62-8434-905641533AE5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161EC9C5-7BA6-4B4E-859C-15F67506A917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BFFB0CDE-ABC5-4213-9CCB-29844DCD6D92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170909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customXml" Target="../../customXml/item13.xml"/><Relationship Id="rId1" Type="http://schemas.openxmlformats.org/officeDocument/2006/relationships/customXml" Target="../../customXml/item12.xml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dt262-9vbrkgdy-applicationdevelopment.lcnc.cfapps.us10.hana.ondemand.com/lobby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3.png"/><Relationship Id="rId5" Type="http://schemas.openxmlformats.org/officeDocument/2006/relationships/hyperlink" Target="https://discovery-center.cloud.sap/missiondetail/4018/4222/" TargetMode="External"/><Relationship Id="rId4" Type="http://schemas.openxmlformats.org/officeDocument/2006/relationships/hyperlink" Target="https://my401669-api.s4hana.cloud.sap/sap/opu/odata/sap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customXml" Target="../../customXml/item19.xml"/><Relationship Id="rId1" Type="http://schemas.openxmlformats.org/officeDocument/2006/relationships/customXml" Target="../../customXml/item18.xml"/><Relationship Id="rId5" Type="http://schemas.openxmlformats.org/officeDocument/2006/relationships/image" Target="../media/image44.png"/><Relationship Id="rId4" Type="http://schemas.openxmlformats.org/officeDocument/2006/relationships/notesSlide" Target="../notesSlides/notesSlide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svg"/><Relationship Id="rId7" Type="http://schemas.openxmlformats.org/officeDocument/2006/relationships/image" Target="../media/image50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9.png"/><Relationship Id="rId5" Type="http://schemas.openxmlformats.org/officeDocument/2006/relationships/image" Target="../media/image48.svg"/><Relationship Id="rId4" Type="http://schemas.openxmlformats.org/officeDocument/2006/relationships/image" Target="../media/image47.png"/><Relationship Id="rId9" Type="http://schemas.openxmlformats.org/officeDocument/2006/relationships/image" Target="../media/image52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986001EZbl&amp;comm_hub_field_id_=F1DA732D6686D23BF5BBD64CFEBF5833" TargetMode="External"/><Relationship Id="rId3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647001Ee5O&amp;comm_hub_field_id_=F1DA732D6686D23BF5BBD64CFEBF5833" TargetMode="External"/><Relationship Id="rId7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448374001X6GH&amp;comm_hub_field_id_=F1DA732D6686D23BF5BBD64CFEBF5833" TargetMode="External"/><Relationship Id="rId2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877001ERS0&amp;comm_hub_field_id_=F1DA732D6686D23BF5BBD64CFEBF5833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950001EHbd&amp;comm_hub_field_id_=F1DA732D6686D23BF5BBD64CFEBF5833" TargetMode="External"/><Relationship Id="rId11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443001EIc7&amp;comm_hub_field_id_=F1DA732D6686D23BF5BBD64CFEBF5833" TargetMode="External"/><Relationship Id="rId5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36915001EwnT&amp;comm_hub_field_id_=F1DA732D6686D23BF5BBD64CFEBF5833" TargetMode="External"/><Relationship Id="rId10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448678001X25s&amp;comm_hub_field_id_=F1DA732D6686D23BF5BBD64CFEBF5833" TargetMode="External"/><Relationship Id="rId4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448414001XuHl&amp;comm_hub_field_id_=F1DA732D6686D23BF5BBD64CFEBF5833" TargetMode="External"/><Relationship Id="rId9" Type="http://schemas.openxmlformats.org/officeDocument/2006/relationships/hyperlink" Target="https://communicationhub-system-redirect.cfapps.eu10.hana.ondemand.com/redirect?comm_hub_redirect_url_=https%3A%2F%2Fgo3.events.sap.com%2Fsapteched%2Fhybrid%2F2022%2Freg%2Fflow%2Fsap%2Fsaptech2022%2Fsapteched2022catalog%2Fpage%2Fcatalog%2Fsession%2F1661198041428001ExKO&amp;comm_hub_field_id_=F1DA732D6686D23BF5BBD64CFEBF5833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8.svg"/><Relationship Id="rId3" Type="http://schemas.openxmlformats.org/officeDocument/2006/relationships/notesSlide" Target="../notesSlides/notesSlide10.xml"/><Relationship Id="rId7" Type="http://schemas.openxmlformats.org/officeDocument/2006/relationships/hyperlink" Target="https://itcertcouncil.org/mp-files/itcc-value-of-it-certification-2021.pdf/" TargetMode="External"/><Relationship Id="rId12" Type="http://schemas.openxmlformats.org/officeDocument/2006/relationships/image" Target="../media/image5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1.xml"/><Relationship Id="rId6" Type="http://schemas.openxmlformats.org/officeDocument/2006/relationships/hyperlink" Target="https://home.pearsonvue.com/About/News/2021/Value-of-IT-Certification-study-highlights-benefit.aspx" TargetMode="External"/><Relationship Id="rId11" Type="http://schemas.openxmlformats.org/officeDocument/2006/relationships/image" Target="../media/image56.png"/><Relationship Id="rId5" Type="http://schemas.openxmlformats.org/officeDocument/2006/relationships/image" Target="../media/image53.emf"/><Relationship Id="rId15" Type="http://schemas.openxmlformats.org/officeDocument/2006/relationships/hyperlink" Target="https://groups.community.sap.com/t5/sap-learning-groups/ct-p/SAP-Learning" TargetMode="External"/><Relationship Id="rId10" Type="http://schemas.openxmlformats.org/officeDocument/2006/relationships/image" Target="../media/image55.png"/><Relationship Id="rId4" Type="http://schemas.openxmlformats.org/officeDocument/2006/relationships/oleObject" Target="../embeddings/oleObject1.bin"/><Relationship Id="rId9" Type="http://schemas.openxmlformats.org/officeDocument/2006/relationships/hyperlink" Target="https://learning.sap.com/teched" TargetMode="External"/><Relationship Id="rId14" Type="http://schemas.openxmlformats.org/officeDocument/2006/relationships/hyperlink" Target="https://groups.community.sap.com/t5/sap-teched/gh-p/SAP-TechEd-Group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customXml" Target="../../customXml/item15.xml"/><Relationship Id="rId1" Type="http://schemas.openxmlformats.org/officeDocument/2006/relationships/customXml" Target="../../customXml/item14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10" Type="http://schemas.openxmlformats.org/officeDocument/2006/relationships/image" Target="../media/image17.jpeg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customXml" Target="../../customXml/item17.xml"/><Relationship Id="rId1" Type="http://schemas.openxmlformats.org/officeDocument/2006/relationships/customXml" Target="../../customXml/item16.xml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esentation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DT262- Execute Bots Rapidly in SAP S/4HANA Cloud with SAP Built Process Automation</a:t>
            </a:r>
            <a:endParaRPr lang="de-DE" dirty="0"/>
          </a:p>
        </p:txBody>
      </p:sp>
      <p:pic>
        <p:nvPicPr>
          <p:cNvPr id="7" name="Title image">
            <a:extLst>
              <a:ext uri="{FF2B5EF4-FFF2-40B4-BE49-F238E27FC236}">
                <a16:creationId xmlns:a16="http://schemas.microsoft.com/office/drawing/2014/main" id="{37CF1F63-6232-DC41-820F-A2E7C43C8C1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/>
          <a:srcRect t="14828" b="46162"/>
          <a:stretch/>
        </p:blipFill>
        <p:spPr bwMode="black">
          <a:xfrm>
            <a:off x="0" y="-1"/>
            <a:ext cx="12195175" cy="343080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614524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745F6F-2E8F-D149-A6AA-1413E28929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85000" lnSpcReduction="20000"/>
          </a:bodyPr>
          <a:lstStyle/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b="1" dirty="0"/>
              <a:t>Jump-start automation development </a:t>
            </a:r>
            <a:r>
              <a:rPr lang="en-US" dirty="0"/>
              <a:t>while making use of </a:t>
            </a:r>
            <a:r>
              <a:rPr lang="en-US" b="1" dirty="0"/>
              <a:t>best practice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dirty="0"/>
              <a:t>Select from a wide variety of </a:t>
            </a:r>
            <a:r>
              <a:rPr lang="en-US" b="1" dirty="0"/>
              <a:t>prebuilt, directly usable packages 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across line of business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industries 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shared function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dirty="0"/>
              <a:t>Content ranges from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templated automation </a:t>
            </a:r>
            <a:r>
              <a:rPr lang="en-US" dirty="0"/>
              <a:t>(bots)</a:t>
            </a:r>
            <a:r>
              <a:rPr lang="en-US" b="1" dirty="0"/>
              <a:t>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processes (</a:t>
            </a:r>
            <a:r>
              <a:rPr lang="en-US" dirty="0"/>
              <a:t>workflows</a:t>
            </a:r>
            <a:r>
              <a:rPr lang="en-US" b="1" dirty="0"/>
              <a:t>)</a:t>
            </a:r>
            <a:endParaRPr lang="en-US" dirty="0"/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form</a:t>
            </a:r>
            <a:r>
              <a:rPr lang="en-US" dirty="0"/>
              <a:t> templates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actions</a:t>
            </a:r>
            <a:r>
              <a:rPr lang="en-US" dirty="0"/>
              <a:t> (called skills)</a:t>
            </a:r>
          </a:p>
          <a:p>
            <a:pPr marL="533400" lvl="1" indent="0">
              <a:lnSpc>
                <a:spcPct val="120000"/>
              </a:lnSpc>
              <a:buNone/>
              <a:tabLst>
                <a:tab pos="522288" algn="l"/>
              </a:tabLst>
            </a:pPr>
            <a:r>
              <a:rPr lang="en-US" dirty="0"/>
              <a:t>to </a:t>
            </a:r>
            <a:r>
              <a:rPr lang="en-US" b="1" dirty="0"/>
              <a:t>complete automation packages combining artifact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EF6A8B-F481-9D4F-92D1-841E089BC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lerate business transformation with prebuilt content package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65E5B4F-1DD7-7541-B115-1E352DC80834}"/>
              </a:ext>
            </a:extLst>
          </p:cNvPr>
          <p:cNvGrpSpPr/>
          <p:nvPr/>
        </p:nvGrpSpPr>
        <p:grpSpPr>
          <a:xfrm>
            <a:off x="2856896" y="1472479"/>
            <a:ext cx="3091992" cy="4607211"/>
            <a:chOff x="3005247" y="1484090"/>
            <a:chExt cx="3091992" cy="460721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E009348-43A7-2641-B199-EC3DF45574AB}"/>
                </a:ext>
              </a:extLst>
            </p:cNvPr>
            <p:cNvSpPr/>
            <p:nvPr/>
          </p:nvSpPr>
          <p:spPr bwMode="gray">
            <a:xfrm>
              <a:off x="3005247" y="1519301"/>
              <a:ext cx="3091992" cy="4572000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AFD4FFE-D596-A243-9749-6BC2204A2AE5}"/>
                </a:ext>
              </a:extLst>
            </p:cNvPr>
            <p:cNvGrpSpPr/>
            <p:nvPr/>
          </p:nvGrpSpPr>
          <p:grpSpPr>
            <a:xfrm>
              <a:off x="3247655" y="1484090"/>
              <a:ext cx="1440000" cy="1454078"/>
              <a:chOff x="4755125" y="1713321"/>
              <a:chExt cx="1440000" cy="1454078"/>
            </a:xfrm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71A5DC3B-3B12-AA4B-A4C9-80B8535A68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55125" y="1713321"/>
                <a:ext cx="1440000" cy="1440000"/>
              </a:xfrm>
              <a:prstGeom prst="rect">
                <a:avLst/>
              </a:prstGeom>
            </p:spPr>
          </p:pic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E221E39-9C00-A34C-9DD0-0A5D1DDAA58E}"/>
                  </a:ext>
                </a:extLst>
              </p:cNvPr>
              <p:cNvSpPr txBox="1"/>
              <p:nvPr/>
            </p:nvSpPr>
            <p:spPr>
              <a:xfrm>
                <a:off x="4770605" y="2951955"/>
                <a:ext cx="1409040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Line of business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A37AFD5-9E26-EE47-992B-56EC0DE78807}"/>
                </a:ext>
              </a:extLst>
            </p:cNvPr>
            <p:cNvGrpSpPr/>
            <p:nvPr/>
          </p:nvGrpSpPr>
          <p:grpSpPr>
            <a:xfrm>
              <a:off x="3247655" y="2765190"/>
              <a:ext cx="1441440" cy="1440000"/>
              <a:chOff x="6174068" y="2995665"/>
              <a:chExt cx="1441440" cy="1440000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307625E7-D76B-E94E-9679-69DD07278C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174068" y="2995665"/>
                <a:ext cx="1441440" cy="1440000"/>
              </a:xfrm>
              <a:prstGeom prst="rect">
                <a:avLst/>
              </a:prstGeom>
            </p:spPr>
          </p:pic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99062DE-D06E-1D49-81DE-4AF5D75C9D46}"/>
                  </a:ext>
                </a:extLst>
              </p:cNvPr>
              <p:cNvSpPr txBox="1"/>
              <p:nvPr/>
            </p:nvSpPr>
            <p:spPr>
              <a:xfrm>
                <a:off x="6542127" y="4189142"/>
                <a:ext cx="70532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Industry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1EC6466-EF54-E146-ABB3-841D81D5011C}"/>
                </a:ext>
              </a:extLst>
            </p:cNvPr>
            <p:cNvGrpSpPr/>
            <p:nvPr/>
          </p:nvGrpSpPr>
          <p:grpSpPr>
            <a:xfrm>
              <a:off x="3247655" y="4223035"/>
              <a:ext cx="1440000" cy="1610578"/>
              <a:chOff x="4743593" y="4278010"/>
              <a:chExt cx="1440000" cy="1610578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D4603475-1B10-F74D-9811-E5EB9893FD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43593" y="4278010"/>
                <a:ext cx="1440000" cy="1440000"/>
              </a:xfrm>
              <a:prstGeom prst="rect">
                <a:avLst/>
              </a:prstGeom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B0C0BEA7-5CBE-2741-85B6-86444D38CA3E}"/>
                  </a:ext>
                </a:extLst>
              </p:cNvPr>
              <p:cNvSpPr txBox="1"/>
              <p:nvPr/>
            </p:nvSpPr>
            <p:spPr>
              <a:xfrm>
                <a:off x="4776706" y="5673144"/>
                <a:ext cx="1373774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Shared services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E4E8764-A4F4-4A40-AA87-0FDFD5FBBF8A}"/>
                </a:ext>
              </a:extLst>
            </p:cNvPr>
            <p:cNvGrpSpPr/>
            <p:nvPr/>
          </p:nvGrpSpPr>
          <p:grpSpPr>
            <a:xfrm>
              <a:off x="5039728" y="1686245"/>
              <a:ext cx="783869" cy="798640"/>
              <a:chOff x="6586073" y="1819331"/>
              <a:chExt cx="783869" cy="798640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51F030C8-4E04-9C42-8043-666E710316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1819331"/>
                <a:ext cx="720000" cy="720000"/>
              </a:xfrm>
              <a:prstGeom prst="rect">
                <a:avLst/>
              </a:prstGeom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7754C7E-1CA9-054E-BB8B-4E15F89CF54C}"/>
                  </a:ext>
                </a:extLst>
              </p:cNvPr>
              <p:cNvSpPr txBox="1"/>
              <p:nvPr/>
            </p:nvSpPr>
            <p:spPr>
              <a:xfrm>
                <a:off x="6586073" y="2464083"/>
                <a:ext cx="783869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 dirty="0">
                    <a:ea typeface="Arial Unicode MS" pitchFamily="34" charset="-128"/>
                    <a:cs typeface="Arial Unicode MS" pitchFamily="34" charset="-128"/>
                  </a:rPr>
                  <a:t>Automations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C4E757A-210D-AD42-AD83-7E7EAC813792}"/>
                </a:ext>
              </a:extLst>
            </p:cNvPr>
            <p:cNvGrpSpPr/>
            <p:nvPr/>
          </p:nvGrpSpPr>
          <p:grpSpPr>
            <a:xfrm>
              <a:off x="5071659" y="2543176"/>
              <a:ext cx="720000" cy="720000"/>
              <a:chOff x="6618004" y="2643527"/>
              <a:chExt cx="720000" cy="720000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4D1AB9AD-D8EF-DD4E-954B-4A3B3E490D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2643527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D3F02075-7D12-AE4C-91FF-890A3CF2555F}"/>
                  </a:ext>
                </a:extLst>
              </p:cNvPr>
              <p:cNvSpPr txBox="1"/>
              <p:nvPr/>
            </p:nvSpPr>
            <p:spPr>
              <a:xfrm>
                <a:off x="6654199" y="3204091"/>
                <a:ext cx="647613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 dirty="0">
                    <a:ea typeface="Arial Unicode MS" pitchFamily="34" charset="-128"/>
                    <a:cs typeface="Arial Unicode MS" pitchFamily="34" charset="-128"/>
                  </a:rPr>
                  <a:t>Workflows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37EC8056-8DC7-694D-B16A-67050C12C8C3}"/>
                </a:ext>
              </a:extLst>
            </p:cNvPr>
            <p:cNvGrpSpPr/>
            <p:nvPr/>
          </p:nvGrpSpPr>
          <p:grpSpPr>
            <a:xfrm>
              <a:off x="5062169" y="3321467"/>
              <a:ext cx="738985" cy="795881"/>
              <a:chOff x="6608514" y="3429000"/>
              <a:chExt cx="738985" cy="795881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4AF5C6ED-A966-9340-98EF-2252694044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3429000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52458E9-2DC3-A343-985B-8B75249E4A84}"/>
                  </a:ext>
                </a:extLst>
              </p:cNvPr>
              <p:cNvSpPr txBox="1"/>
              <p:nvPr/>
            </p:nvSpPr>
            <p:spPr>
              <a:xfrm>
                <a:off x="6608514" y="4070993"/>
                <a:ext cx="738985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Dashboards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BCAB990-7913-5B4B-9FB4-BC121E2EEFD2}"/>
                </a:ext>
              </a:extLst>
            </p:cNvPr>
            <p:cNvGrpSpPr/>
            <p:nvPr/>
          </p:nvGrpSpPr>
          <p:grpSpPr>
            <a:xfrm>
              <a:off x="5071659" y="4175639"/>
              <a:ext cx="720000" cy="755863"/>
              <a:chOff x="6618004" y="4308574"/>
              <a:chExt cx="720000" cy="755863"/>
            </a:xfrm>
          </p:grpSpPr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B98C779E-8DCD-0343-944A-3B1AF432EB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4308574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49BBBD8B-9140-DC40-B46B-3BF10C47CE6F}"/>
                  </a:ext>
                </a:extLst>
              </p:cNvPr>
              <p:cNvSpPr txBox="1"/>
              <p:nvPr/>
            </p:nvSpPr>
            <p:spPr>
              <a:xfrm>
                <a:off x="6782439" y="4910549"/>
                <a:ext cx="391134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Forms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BBF4A68-7D1D-054B-8E9E-F66793275A5E}"/>
                </a:ext>
              </a:extLst>
            </p:cNvPr>
            <p:cNvGrpSpPr/>
            <p:nvPr/>
          </p:nvGrpSpPr>
          <p:grpSpPr>
            <a:xfrm>
              <a:off x="5071299" y="4989793"/>
              <a:ext cx="720720" cy="812846"/>
              <a:chOff x="6617644" y="5226781"/>
              <a:chExt cx="720720" cy="812846"/>
            </a:xfrm>
          </p:grpSpPr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449DDB3D-2910-E942-81A5-29862FFD12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7644" y="5226781"/>
                <a:ext cx="720720" cy="720000"/>
              </a:xfrm>
              <a:prstGeom prst="rect">
                <a:avLst/>
              </a:prstGeom>
            </p:spPr>
          </p:pic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F687E6D-0D30-E047-BCF2-6422DC0B505A}"/>
                  </a:ext>
                </a:extLst>
              </p:cNvPr>
              <p:cNvSpPr txBox="1"/>
              <p:nvPr/>
            </p:nvSpPr>
            <p:spPr>
              <a:xfrm>
                <a:off x="6812095" y="5885739"/>
                <a:ext cx="331822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Skills</a:t>
                </a:r>
              </a:p>
            </p:txBody>
          </p:sp>
        </p:grpSp>
      </p:grpSp>
      <p:pic>
        <p:nvPicPr>
          <p:cNvPr id="34" name="Picture 33">
            <a:extLst>
              <a:ext uri="{FF2B5EF4-FFF2-40B4-BE49-F238E27FC236}">
                <a16:creationId xmlns:a16="http://schemas.microsoft.com/office/drawing/2014/main" id="{C1A02D21-ECEE-1443-A522-0279440B4E5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065" y="3871309"/>
            <a:ext cx="2213746" cy="2213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97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s-on Exercise Flow</a:t>
            </a:r>
          </a:p>
        </p:txBody>
      </p:sp>
      <p:sp>
        <p:nvSpPr>
          <p:cNvPr id="13" name="Rectangle: Rounded Corners 12"/>
          <p:cNvSpPr/>
          <p:nvPr/>
        </p:nvSpPr>
        <p:spPr bwMode="gray">
          <a:xfrm>
            <a:off x="3295122" y="3262068"/>
            <a:ext cx="2409615" cy="117400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470023" y="3385564"/>
            <a:ext cx="209513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dirty="0">
                <a:solidFill>
                  <a:srgbClr val="32363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eate Purchase Requisitions from Excel (48M)</a:t>
            </a:r>
            <a:endParaRPr lang="en-US" sz="1800" kern="0" dirty="0"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cxnSp>
        <p:nvCxnSpPr>
          <p:cNvPr id="43" name="Straight Arrow Connector 42"/>
          <p:cNvCxnSpPr>
            <a:cxnSpLocks/>
            <a:stCxn id="13" idx="3"/>
            <a:endCxn id="46" idx="1"/>
          </p:cNvCxnSpPr>
          <p:nvPr/>
        </p:nvCxnSpPr>
        <p:spPr>
          <a:xfrm flipV="1">
            <a:off x="5704737" y="3830743"/>
            <a:ext cx="608750" cy="18325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/>
          <p:cNvSpPr/>
          <p:nvPr/>
        </p:nvSpPr>
        <p:spPr bwMode="gray">
          <a:xfrm>
            <a:off x="6313487" y="3225418"/>
            <a:ext cx="2315243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462296" y="3398247"/>
            <a:ext cx="212996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Extend bot with Workflow (Approval Process)</a:t>
            </a:r>
          </a:p>
        </p:txBody>
      </p:sp>
      <p:cxnSp>
        <p:nvCxnSpPr>
          <p:cNvPr id="62" name="Straight Arrow Connector 61"/>
          <p:cNvCxnSpPr>
            <a:cxnSpLocks/>
          </p:cNvCxnSpPr>
          <p:nvPr/>
        </p:nvCxnSpPr>
        <p:spPr>
          <a:xfrm>
            <a:off x="8669651" y="3801061"/>
            <a:ext cx="661673" cy="1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: Rounded Corners 66"/>
          <p:cNvSpPr/>
          <p:nvPr/>
        </p:nvSpPr>
        <p:spPr bwMode="gray">
          <a:xfrm>
            <a:off x="9414044" y="3162876"/>
            <a:ext cx="2208754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9414044" y="3259747"/>
            <a:ext cx="2135805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Bot Execution to trigger Purchase Requisition Creation from Form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21591EA-0D19-4E39-A326-EB79366A35DD}"/>
              </a:ext>
            </a:extLst>
          </p:cNvPr>
          <p:cNvSpPr txBox="1"/>
          <p:nvPr/>
        </p:nvSpPr>
        <p:spPr>
          <a:xfrm>
            <a:off x="3232405" y="2894392"/>
            <a:ext cx="571204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kern="0" dirty="0">
                <a:ea typeface="Arial Unicode MS" pitchFamily="34" charset="-128"/>
                <a:cs typeface="Arial Unicode MS" pitchFamily="34" charset="-128"/>
              </a:rPr>
              <a:t>SAP Build Process Automation</a:t>
            </a:r>
          </a:p>
        </p:txBody>
      </p:sp>
      <p:cxnSp>
        <p:nvCxnSpPr>
          <p:cNvPr id="28" name="Connector: Curved 27">
            <a:extLst>
              <a:ext uri="{FF2B5EF4-FFF2-40B4-BE49-F238E27FC236}">
                <a16:creationId xmlns:a16="http://schemas.microsoft.com/office/drawing/2014/main" id="{CF466959-00F0-41B6-A300-C1E7009A414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0177221" y="2666035"/>
            <a:ext cx="701119" cy="350727"/>
          </a:xfrm>
          <a:prstGeom prst="curvedConnector3">
            <a:avLst/>
          </a:prstGeom>
          <a:ln w="254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loud 55">
            <a:extLst>
              <a:ext uri="{FF2B5EF4-FFF2-40B4-BE49-F238E27FC236}">
                <a16:creationId xmlns:a16="http://schemas.microsoft.com/office/drawing/2014/main" id="{9571E01D-11F1-4B29-802A-2E5DD6FC8B36}"/>
              </a:ext>
            </a:extLst>
          </p:cNvPr>
          <p:cNvSpPr/>
          <p:nvPr/>
        </p:nvSpPr>
        <p:spPr bwMode="gray">
          <a:xfrm>
            <a:off x="8736675" y="1054183"/>
            <a:ext cx="3450877" cy="1479388"/>
          </a:xfrm>
          <a:prstGeom prst="cloud">
            <a:avLst/>
          </a:prstGeom>
          <a:solidFill>
            <a:schemeClr val="accent3">
              <a:lumMod val="20000"/>
              <a:lumOff val="8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SAP S/4HANA Clou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85AD54-3A0E-46ED-8352-E98854B246C6}"/>
              </a:ext>
            </a:extLst>
          </p:cNvPr>
          <p:cNvSpPr txBox="1"/>
          <p:nvPr/>
        </p:nvSpPr>
        <p:spPr>
          <a:xfrm>
            <a:off x="3787383" y="4537300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Downloa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6BD32C1-721C-47DF-B4D1-6D0A79B08EA3}"/>
              </a:ext>
            </a:extLst>
          </p:cNvPr>
          <p:cNvSpPr txBox="1"/>
          <p:nvPr/>
        </p:nvSpPr>
        <p:spPr>
          <a:xfrm>
            <a:off x="6836403" y="4539826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Exten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2914B4E-247C-4D6C-B4BA-9176D52754F5}"/>
              </a:ext>
            </a:extLst>
          </p:cNvPr>
          <p:cNvSpPr txBox="1"/>
          <p:nvPr/>
        </p:nvSpPr>
        <p:spPr>
          <a:xfrm>
            <a:off x="9414044" y="4469207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Deploy and Execute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9359305F-DA17-40AB-AB73-CB690B353F9D}"/>
              </a:ext>
            </a:extLst>
          </p:cNvPr>
          <p:cNvSpPr/>
          <p:nvPr/>
        </p:nvSpPr>
        <p:spPr bwMode="gray">
          <a:xfrm>
            <a:off x="291614" y="3243743"/>
            <a:ext cx="2409615" cy="117400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Register and configure agent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D43FB70-04EF-477D-A887-D5C3CFA24BC3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2696112" y="3840497"/>
            <a:ext cx="599010" cy="8571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BCC7DA79-9B5B-4D2A-BE2B-66061BAC999C}"/>
              </a:ext>
            </a:extLst>
          </p:cNvPr>
          <p:cNvSpPr txBox="1"/>
          <p:nvPr/>
        </p:nvSpPr>
        <p:spPr>
          <a:xfrm>
            <a:off x="804359" y="4548952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Set-Up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31808A-0FA4-4202-A79B-DDC43F3AC715}"/>
              </a:ext>
            </a:extLst>
          </p:cNvPr>
          <p:cNvSpPr txBox="1"/>
          <p:nvPr/>
        </p:nvSpPr>
        <p:spPr>
          <a:xfrm>
            <a:off x="5362113" y="5211192"/>
            <a:ext cx="518455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ea typeface="Arial Unicode MS" pitchFamily="34" charset="-128"/>
                <a:cs typeface="Arial Unicode MS" pitchFamily="34" charset="-128"/>
              </a:rPr>
              <a:t>Condition - Purchase Requisition Value &gt;=100</a:t>
            </a:r>
          </a:p>
        </p:txBody>
      </p:sp>
    </p:spTree>
    <p:extLst>
      <p:ext uri="{BB962C8B-B14F-4D97-AF65-F5344CB8AC3E}">
        <p14:creationId xmlns:p14="http://schemas.microsoft.com/office/powerpoint/2010/main" val="40189319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s-on Exercise Flow</a:t>
            </a:r>
          </a:p>
        </p:txBody>
      </p:sp>
      <p:sp>
        <p:nvSpPr>
          <p:cNvPr id="13" name="Rectangle: Rounded Corners 12"/>
          <p:cNvSpPr/>
          <p:nvPr/>
        </p:nvSpPr>
        <p:spPr bwMode="gray">
          <a:xfrm>
            <a:off x="3295122" y="3262068"/>
            <a:ext cx="2409615" cy="117400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470023" y="3385564"/>
            <a:ext cx="209513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dirty="0">
                <a:solidFill>
                  <a:srgbClr val="32363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eate Purchase Requisitions from Excel (48M)</a:t>
            </a:r>
            <a:endParaRPr lang="en-US" sz="1800" kern="0" dirty="0"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cxnSp>
        <p:nvCxnSpPr>
          <p:cNvPr id="43" name="Straight Arrow Connector 42"/>
          <p:cNvCxnSpPr>
            <a:cxnSpLocks/>
            <a:stCxn id="13" idx="3"/>
            <a:endCxn id="46" idx="1"/>
          </p:cNvCxnSpPr>
          <p:nvPr/>
        </p:nvCxnSpPr>
        <p:spPr>
          <a:xfrm flipV="1">
            <a:off x="5704737" y="3830743"/>
            <a:ext cx="608750" cy="18325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/>
          <p:cNvSpPr/>
          <p:nvPr/>
        </p:nvSpPr>
        <p:spPr bwMode="gray">
          <a:xfrm>
            <a:off x="6313487" y="3225418"/>
            <a:ext cx="2315243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462296" y="3398247"/>
            <a:ext cx="212996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Extend bot with Workflow (Approval Process)</a:t>
            </a:r>
          </a:p>
        </p:txBody>
      </p:sp>
      <p:cxnSp>
        <p:nvCxnSpPr>
          <p:cNvPr id="62" name="Straight Arrow Connector 61"/>
          <p:cNvCxnSpPr>
            <a:cxnSpLocks/>
          </p:cNvCxnSpPr>
          <p:nvPr/>
        </p:nvCxnSpPr>
        <p:spPr>
          <a:xfrm>
            <a:off x="8669651" y="3801061"/>
            <a:ext cx="661673" cy="1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: Rounded Corners 66"/>
          <p:cNvSpPr/>
          <p:nvPr/>
        </p:nvSpPr>
        <p:spPr bwMode="gray">
          <a:xfrm>
            <a:off x="9414044" y="3162876"/>
            <a:ext cx="2208754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9414044" y="3259747"/>
            <a:ext cx="2135805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Bot Execution to trigger Purchase Requisition Creation from Form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21591EA-0D19-4E39-A326-EB79366A35DD}"/>
              </a:ext>
            </a:extLst>
          </p:cNvPr>
          <p:cNvSpPr txBox="1"/>
          <p:nvPr/>
        </p:nvSpPr>
        <p:spPr>
          <a:xfrm>
            <a:off x="3232405" y="2892675"/>
            <a:ext cx="571204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kern="0" dirty="0">
                <a:ea typeface="Arial Unicode MS" pitchFamily="34" charset="-128"/>
                <a:cs typeface="Arial Unicode MS" pitchFamily="34" charset="-128"/>
              </a:rPr>
              <a:t>SAP Build Process Automation</a:t>
            </a:r>
          </a:p>
        </p:txBody>
      </p:sp>
      <p:cxnSp>
        <p:nvCxnSpPr>
          <p:cNvPr id="28" name="Connector: Curved 27">
            <a:extLst>
              <a:ext uri="{FF2B5EF4-FFF2-40B4-BE49-F238E27FC236}">
                <a16:creationId xmlns:a16="http://schemas.microsoft.com/office/drawing/2014/main" id="{CF466959-00F0-41B6-A300-C1E7009A414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0177221" y="2666035"/>
            <a:ext cx="701119" cy="350727"/>
          </a:xfrm>
          <a:prstGeom prst="curvedConnector3">
            <a:avLst/>
          </a:prstGeom>
          <a:ln w="254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loud 55">
            <a:extLst>
              <a:ext uri="{FF2B5EF4-FFF2-40B4-BE49-F238E27FC236}">
                <a16:creationId xmlns:a16="http://schemas.microsoft.com/office/drawing/2014/main" id="{9571E01D-11F1-4B29-802A-2E5DD6FC8B36}"/>
              </a:ext>
            </a:extLst>
          </p:cNvPr>
          <p:cNvSpPr/>
          <p:nvPr/>
        </p:nvSpPr>
        <p:spPr bwMode="gray">
          <a:xfrm>
            <a:off x="8736675" y="1054183"/>
            <a:ext cx="3450877" cy="1479388"/>
          </a:xfrm>
          <a:prstGeom prst="cloud">
            <a:avLst/>
          </a:prstGeom>
          <a:solidFill>
            <a:schemeClr val="accent3">
              <a:lumMod val="20000"/>
              <a:lumOff val="8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SAP S/4HANA Clou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85AD54-3A0E-46ED-8352-E98854B246C6}"/>
              </a:ext>
            </a:extLst>
          </p:cNvPr>
          <p:cNvSpPr txBox="1"/>
          <p:nvPr/>
        </p:nvSpPr>
        <p:spPr>
          <a:xfrm>
            <a:off x="3787383" y="4537300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Downloa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6BD32C1-721C-47DF-B4D1-6D0A79B08EA3}"/>
              </a:ext>
            </a:extLst>
          </p:cNvPr>
          <p:cNvSpPr txBox="1"/>
          <p:nvPr/>
        </p:nvSpPr>
        <p:spPr>
          <a:xfrm>
            <a:off x="6836403" y="4539826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Exten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2914B4E-247C-4D6C-B4BA-9176D52754F5}"/>
              </a:ext>
            </a:extLst>
          </p:cNvPr>
          <p:cNvSpPr txBox="1"/>
          <p:nvPr/>
        </p:nvSpPr>
        <p:spPr>
          <a:xfrm>
            <a:off x="9414044" y="4469207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Deploy and Execute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9359305F-DA17-40AB-AB73-CB690B353F9D}"/>
              </a:ext>
            </a:extLst>
          </p:cNvPr>
          <p:cNvSpPr/>
          <p:nvPr/>
        </p:nvSpPr>
        <p:spPr bwMode="gray">
          <a:xfrm>
            <a:off x="291614" y="3243743"/>
            <a:ext cx="2409615" cy="117400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Register and configure agent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D43FB70-04EF-477D-A887-D5C3CFA24BC3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2696112" y="3840497"/>
            <a:ext cx="599010" cy="8571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BCC7DA79-9B5B-4D2A-BE2B-66061BAC999C}"/>
              </a:ext>
            </a:extLst>
          </p:cNvPr>
          <p:cNvSpPr txBox="1"/>
          <p:nvPr/>
        </p:nvSpPr>
        <p:spPr>
          <a:xfrm>
            <a:off x="997691" y="4528881"/>
            <a:ext cx="22347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ea typeface="Arial Unicode MS" pitchFamily="34" charset="-128"/>
                <a:cs typeface="Arial Unicode MS" pitchFamily="34" charset="-128"/>
              </a:rPr>
              <a:t>Set-Up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31808A-0FA4-4202-A79B-DDC43F3AC715}"/>
              </a:ext>
            </a:extLst>
          </p:cNvPr>
          <p:cNvSpPr txBox="1"/>
          <p:nvPr/>
        </p:nvSpPr>
        <p:spPr>
          <a:xfrm>
            <a:off x="5362113" y="5211192"/>
            <a:ext cx="518455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ea typeface="Arial Unicode MS" pitchFamily="34" charset="-128"/>
                <a:cs typeface="Arial Unicode MS" pitchFamily="34" charset="-128"/>
              </a:rPr>
              <a:t>Condition - Purchase Requisition Value &gt;=100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836A27A-0EC0-4603-8185-CD4C7535A9A7}"/>
              </a:ext>
            </a:extLst>
          </p:cNvPr>
          <p:cNvSpPr/>
          <p:nvPr/>
        </p:nvSpPr>
        <p:spPr bwMode="gray">
          <a:xfrm>
            <a:off x="142043" y="2867487"/>
            <a:ext cx="2721808" cy="2077988"/>
          </a:xfrm>
          <a:prstGeom prst="rect">
            <a:avLst/>
          </a:prstGeom>
          <a:noFill/>
          <a:ln w="25400" algn="ctr">
            <a:solidFill>
              <a:srgbClr val="FF0000"/>
            </a:solidFill>
            <a:prstDash val="dash"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440C2C3-2427-47FC-9CAA-580D68B77C7B}"/>
              </a:ext>
            </a:extLst>
          </p:cNvPr>
          <p:cNvSpPr/>
          <p:nvPr/>
        </p:nvSpPr>
        <p:spPr bwMode="gray">
          <a:xfrm>
            <a:off x="3232405" y="2867487"/>
            <a:ext cx="5635604" cy="2077988"/>
          </a:xfrm>
          <a:prstGeom prst="rect">
            <a:avLst/>
          </a:prstGeom>
          <a:noFill/>
          <a:ln w="25400" algn="ctr">
            <a:solidFill>
              <a:srgbClr val="FF0000"/>
            </a:solidFill>
            <a:prstDash val="dash"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C892664-61C2-4D8B-AA02-DF014DAFD241}"/>
              </a:ext>
            </a:extLst>
          </p:cNvPr>
          <p:cNvSpPr/>
          <p:nvPr/>
        </p:nvSpPr>
        <p:spPr bwMode="gray">
          <a:xfrm>
            <a:off x="9236563" y="2841398"/>
            <a:ext cx="2721808" cy="2077988"/>
          </a:xfrm>
          <a:prstGeom prst="rect">
            <a:avLst/>
          </a:prstGeom>
          <a:noFill/>
          <a:ln w="25400" algn="ctr">
            <a:solidFill>
              <a:srgbClr val="FF0000"/>
            </a:solidFill>
            <a:prstDash val="dash"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3921DB-9072-466D-9F59-EB18B9ABF21B}"/>
              </a:ext>
            </a:extLst>
          </p:cNvPr>
          <p:cNvSpPr txBox="1"/>
          <p:nvPr/>
        </p:nvSpPr>
        <p:spPr>
          <a:xfrm>
            <a:off x="1589103" y="2490839"/>
            <a:ext cx="11920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ea typeface="Arial Unicode MS" pitchFamily="34" charset="-128"/>
                <a:cs typeface="Arial Unicode MS" pitchFamily="34" charset="-128"/>
              </a:rPr>
              <a:t>Exercise 0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1491584-6227-43D2-A671-751E4AA45819}"/>
              </a:ext>
            </a:extLst>
          </p:cNvPr>
          <p:cNvSpPr txBox="1"/>
          <p:nvPr/>
        </p:nvSpPr>
        <p:spPr>
          <a:xfrm>
            <a:off x="7252267" y="2522163"/>
            <a:ext cx="11920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ea typeface="Arial Unicode MS" pitchFamily="34" charset="-128"/>
                <a:cs typeface="Arial Unicode MS" pitchFamily="34" charset="-128"/>
              </a:rPr>
              <a:t>Exercise 1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9F3FFD5-5094-40B9-B44C-F52A6937C181}"/>
              </a:ext>
            </a:extLst>
          </p:cNvPr>
          <p:cNvSpPr txBox="1"/>
          <p:nvPr/>
        </p:nvSpPr>
        <p:spPr>
          <a:xfrm>
            <a:off x="10849334" y="2501141"/>
            <a:ext cx="11920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ea typeface="Arial Unicode MS" pitchFamily="34" charset="-128"/>
                <a:cs typeface="Arial Unicode MS" pitchFamily="34" charset="-128"/>
              </a:rPr>
              <a:t>Exercise 2</a:t>
            </a:r>
          </a:p>
        </p:txBody>
      </p:sp>
    </p:spTree>
    <p:extLst>
      <p:ext uri="{BB962C8B-B14F-4D97-AF65-F5344CB8AC3E}">
        <p14:creationId xmlns:p14="http://schemas.microsoft.com/office/powerpoint/2010/main" val="13585524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32980" y="504000"/>
            <a:ext cx="11186476" cy="369332"/>
          </a:xfrm>
        </p:spPr>
        <p:txBody>
          <a:bodyPr/>
          <a:lstStyle/>
          <a:p>
            <a:r>
              <a:rPr lang="en-US" dirty="0"/>
              <a:t>Hands-on Exercises Logon Credential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 bwMode="gray">
          <a:xfrm>
            <a:off x="326323" y="1185418"/>
            <a:ext cx="11542528" cy="5095535"/>
          </a:xfrm>
        </p:spPr>
        <p:txBody>
          <a:bodyPr/>
          <a:lstStyle/>
          <a:p>
            <a:pPr marL="342831" indent="-342831">
              <a:buFont typeface="Arial" panose="020B0604020202020204" pitchFamily="34" charset="0"/>
              <a:buChar char="•"/>
            </a:pPr>
            <a:r>
              <a:rPr lang="en-US" sz="1600" b="1" dirty="0"/>
              <a:t>Exercise 0: SAP Build Process Automation</a:t>
            </a:r>
          </a:p>
          <a:p>
            <a:pPr marL="179964" lvl="2" indent="0">
              <a:buNone/>
            </a:pPr>
            <a:r>
              <a:rPr lang="en-US" sz="1600" dirty="0">
                <a:sym typeface="Wingdings" panose="05000000000000000000" pitchFamily="2" charset="2"/>
              </a:rPr>
              <a:t> </a:t>
            </a:r>
            <a:r>
              <a:rPr lang="en-US" sz="1600" dirty="0"/>
              <a:t>Google Chrome: Group Number as on the Post-it</a:t>
            </a:r>
            <a:endParaRPr lang="en-US" sz="1600" b="1" u="sng" dirty="0"/>
          </a:p>
          <a:p>
            <a:pPr marL="179964" lvl="2" indent="0">
              <a:buNone/>
            </a:pPr>
            <a:r>
              <a:rPr lang="en-US" sz="1600" dirty="0">
                <a:sym typeface="Wingdings" panose="05000000000000000000" pitchFamily="2" charset="2"/>
              </a:rPr>
              <a:t> URL:</a:t>
            </a:r>
            <a:r>
              <a:rPr lang="en-US" sz="1600" b="0" i="0" u="none" strike="noStrike" dirty="0">
                <a:solidFill>
                  <a:srgbClr val="24292F"/>
                </a:solidFill>
                <a:effectLst/>
                <a:hlinkClick r:id="rId3"/>
              </a:rPr>
              <a:t>https://dt262-9vbrkgdy-applicationdevelopment.lcnc.cfapps.us10.hana.ondemand.com/lobby</a:t>
            </a:r>
            <a:endParaRPr lang="en-US" sz="1600" b="0" i="0" dirty="0">
              <a:solidFill>
                <a:srgbClr val="24292F"/>
              </a:solidFill>
              <a:effectLst/>
            </a:endParaRPr>
          </a:p>
          <a:p>
            <a:pPr marL="465714" lvl="2" indent="-285750">
              <a:buFont typeface="Wingdings" panose="05000000000000000000" pitchFamily="2" charset="2"/>
              <a:buChar char="à"/>
            </a:pPr>
            <a:r>
              <a:rPr lang="en-US" sz="1600" dirty="0">
                <a:sym typeface="Wingdings" panose="05000000000000000000" pitchFamily="2" charset="2"/>
              </a:rPr>
              <a:t>Login with user </a:t>
            </a:r>
            <a:r>
              <a:rPr lang="en-US" sz="1600" b="1" dirty="0">
                <a:solidFill>
                  <a:srgbClr val="FF0000"/>
                </a:solidFill>
                <a:sym typeface="Wingdings" panose="05000000000000000000" pitchFamily="2" charset="2"/>
              </a:rPr>
              <a:t>DT262_0XX</a:t>
            </a:r>
            <a:r>
              <a:rPr lang="en-US" sz="1600" dirty="0">
                <a:sym typeface="Wingdings" panose="05000000000000000000" pitchFamily="2" charset="2"/>
              </a:rPr>
              <a:t> Password: </a:t>
            </a:r>
            <a:r>
              <a:rPr lang="en-US" sz="1600" b="1" dirty="0">
                <a:solidFill>
                  <a:srgbClr val="FF0000"/>
                </a:solidFill>
                <a:sym typeface="Wingdings" panose="05000000000000000000" pitchFamily="2" charset="2"/>
              </a:rPr>
              <a:t>TechEd22$</a:t>
            </a:r>
          </a:p>
          <a:p>
            <a:pPr marL="179964" lvl="2" indent="0">
              <a:buNone/>
            </a:pPr>
            <a:endParaRPr lang="en-US" sz="16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600" b="1" dirty="0"/>
              <a:t>Exercise 2: Release, Deploy and Execute the Business Scenario</a:t>
            </a:r>
          </a:p>
          <a:p>
            <a:pPr marL="522864" lvl="1" indent="-342900">
              <a:buClrTx/>
              <a:buFont typeface="Wingdings" panose="05000000000000000000" pitchFamily="2" charset="2"/>
              <a:buChar char="à"/>
            </a:pPr>
            <a:r>
              <a:rPr lang="en-US" sz="1600" dirty="0"/>
              <a:t>SYSTEMURL_ODATA:- </a:t>
            </a:r>
            <a:r>
              <a:rPr lang="en-US" sz="1600" i="0" u="none" strike="noStrike" dirty="0">
                <a:solidFill>
                  <a:srgbClr val="24292F"/>
                </a:solidFill>
                <a:effectLst/>
                <a:hlinkClick r:id="rId4"/>
              </a:rPr>
              <a:t>https://my401669-api.s4hana.cloud.sap/sap/opu/odata/sap</a:t>
            </a:r>
            <a:endParaRPr lang="en-US" sz="1600" u="none" strike="noStrike" dirty="0">
              <a:solidFill>
                <a:srgbClr val="24292F"/>
              </a:solidFill>
            </a:endParaRPr>
          </a:p>
          <a:p>
            <a:pPr marL="522864" lvl="1" indent="-342900">
              <a:buClrTx/>
              <a:buFont typeface="Wingdings" panose="05000000000000000000" pitchFamily="2" charset="2"/>
              <a:buChar char="à"/>
            </a:pPr>
            <a:r>
              <a:rPr lang="en-US" sz="1600" dirty="0"/>
              <a:t>S4H_USER_AUTH_48M:</a:t>
            </a:r>
          </a:p>
          <a:p>
            <a:pPr lvl="3" indent="0">
              <a:buClrTx/>
              <a:buNone/>
            </a:pPr>
            <a:r>
              <a:rPr lang="en-US" dirty="0"/>
              <a:t>login - </a:t>
            </a:r>
            <a:r>
              <a:rPr lang="en-US" b="1" dirty="0">
                <a:solidFill>
                  <a:srgbClr val="FF0000"/>
                </a:solidFill>
              </a:rPr>
              <a:t>DT262_USER</a:t>
            </a:r>
          </a:p>
          <a:p>
            <a:pPr lvl="3" indent="0">
              <a:buClrTx/>
              <a:buNone/>
            </a:pPr>
            <a:r>
              <a:rPr lang="en-US" dirty="0"/>
              <a:t>password - </a:t>
            </a:r>
            <a:r>
              <a:rPr lang="en-US" b="1" dirty="0">
                <a:solidFill>
                  <a:srgbClr val="FF0000"/>
                </a:solidFill>
              </a:rPr>
              <a:t>WelcomeDT262TechEd_22</a:t>
            </a:r>
          </a:p>
          <a:p>
            <a:pPr marL="522864" lvl="1" indent="-342900">
              <a:buClrTx/>
              <a:buFont typeface="Wingdings" panose="05000000000000000000" pitchFamily="2" charset="2"/>
              <a:buChar char="à"/>
            </a:pPr>
            <a:r>
              <a:rPr lang="en-US" sz="1600" dirty="0"/>
              <a:t>EMAIL_RECIPIENTS_48M: Email recipient. Put some fake address, as we have disabled the email function</a:t>
            </a:r>
          </a:p>
          <a:p>
            <a:pPr marL="522864" lvl="1" indent="-342900">
              <a:buClrTx/>
              <a:buFont typeface="Wingdings" panose="05000000000000000000" pitchFamily="2" charset="2"/>
              <a:buChar char="à"/>
            </a:pPr>
            <a:endParaRPr lang="en-US" sz="1600" dirty="0"/>
          </a:p>
          <a:p>
            <a:pPr lvl="1" indent="0">
              <a:buClrTx/>
              <a:buNone/>
            </a:pPr>
            <a:r>
              <a:rPr lang="en-US" sz="1600" dirty="0"/>
              <a:t>Session also available in SAP Discovery Center:</a:t>
            </a:r>
          </a:p>
          <a:p>
            <a:pPr lvl="1" indent="0">
              <a:buClrTx/>
              <a:buNone/>
            </a:pPr>
            <a:r>
              <a:rPr lang="en-US" sz="1600" dirty="0">
                <a:hlinkClick r:id="rId5"/>
              </a:rPr>
              <a:t>https://discovery-center.cloud.sap/missiondetail/4018/4222/</a:t>
            </a:r>
            <a:endParaRPr lang="en-US" sz="1600" dirty="0"/>
          </a:p>
          <a:p>
            <a:pPr lvl="1" indent="0">
              <a:buClrTx/>
              <a:buNone/>
            </a:pPr>
            <a:endParaRPr lang="en-US" dirty="0"/>
          </a:p>
          <a:p>
            <a:r>
              <a:rPr lang="en-US" b="1" dirty="0">
                <a:sym typeface="Wingdings" panose="05000000000000000000" pitchFamily="2" charset="2"/>
              </a:rPr>
              <a:t> HAVE FUN! :-)</a:t>
            </a:r>
            <a:endParaRPr lang="en-US" b="1" dirty="0"/>
          </a:p>
          <a:p>
            <a:r>
              <a:rPr lang="en-US" dirty="0">
                <a:sym typeface="Wingdings" panose="05000000000000000000" pitchFamily="2" charset="2"/>
              </a:rPr>
              <a:t>     </a:t>
            </a:r>
            <a:endParaRPr lang="en-US" b="1" dirty="0"/>
          </a:p>
          <a:p>
            <a:endParaRPr lang="en-US" b="1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endParaRPr lang="en-US" b="1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86FE3F-5558-48D6-B8A9-228B2CB577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73778" y="3329000"/>
            <a:ext cx="847619" cy="2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2796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 descr="{&quot;templafy&quot;:{&quot;id&quot;:&quot;c5795077-d4a2-4854-b837-dc0c6a3645fe&quot;}}">
            <a:extLst>
              <a:ext uri="{FF2B5EF4-FFF2-40B4-BE49-F238E27FC236}">
                <a16:creationId xmlns:a16="http://schemas.microsoft.com/office/drawing/2014/main" id="{E8CBF4DD-15EB-47C8-94C8-492FB092CB97}"/>
              </a:ext>
            </a:extLst>
          </p:cNvPr>
          <p:cNvSpPr txBox="1"/>
          <p:nvPr/>
        </p:nvSpPr>
        <p:spPr>
          <a:xfrm>
            <a:off x="503238" y="372578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US" sz="1400" dirty="0">
                <a:latin typeface="+mn-lt"/>
              </a:rPr>
              <a:t>c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huck.chen@sap.com</a:t>
            </a:r>
          </a:p>
        </p:txBody>
      </p:sp>
      <p:sp>
        <p:nvSpPr>
          <p:cNvPr id="3" name="TextBox 2" descr="{&quot;templafy&quot;:{&quot;id&quot;:&quot;a94a922e-fddc-4f84-84f2-24578e6ee879&quot;}}">
            <a:extLst>
              <a:ext uri="{FF2B5EF4-FFF2-40B4-BE49-F238E27FC236}">
                <a16:creationId xmlns:a16="http://schemas.microsoft.com/office/drawing/2014/main" id="{F02EFDEC-1C58-4504-92E1-D8E4DBCFE8FE}"/>
              </a:ext>
            </a:extLst>
          </p:cNvPr>
          <p:cNvSpPr txBox="1"/>
          <p:nvPr/>
        </p:nvSpPr>
        <p:spPr>
          <a:xfrm>
            <a:off x="503238" y="3502638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US" sz="1400" dirty="0">
                <a:latin typeface="+mn-lt"/>
              </a:rPr>
              <a:t>Chuck Chen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extBox 1" descr="Acquired company logo placeholder">
            <a:extLst>
              <a:ext uri="{FF2B5EF4-FFF2-40B4-BE49-F238E27FC236}">
                <a16:creationId xmlns:a16="http://schemas.microsoft.com/office/drawing/2014/main" id="{8E0C940A-4E11-488C-B1B7-10F1A11687FC}"/>
              </a:ext>
            </a:extLst>
          </p:cNvPr>
          <p:cNvSpPr txBox="1"/>
          <p:nvPr/>
        </p:nvSpPr>
        <p:spPr>
          <a:xfrm>
            <a:off x="504000" y="585782"/>
            <a:ext cx="41163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6A43D26-02DA-4293-A438-DD6767786A4E}"/>
              </a:ext>
            </a:extLst>
          </p:cNvPr>
          <p:cNvSpPr txBox="1"/>
          <p:nvPr/>
        </p:nvSpPr>
        <p:spPr>
          <a:xfrm>
            <a:off x="4098694" y="3461940"/>
            <a:ext cx="2115675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ea typeface="Arial Unicode MS" pitchFamily="34" charset="-128"/>
                <a:cs typeface="Arial Unicode MS" pitchFamily="34" charset="-128"/>
              </a:rPr>
              <a:t>Amitha Kamath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ea typeface="Arial Unicode MS" pitchFamily="34" charset="-128"/>
                <a:cs typeface="Arial Unicode MS" pitchFamily="34" charset="-128"/>
              </a:rPr>
              <a:t>amitha.kamath@sap.co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101E28-8B9F-4E05-869C-4CBE223A4644}"/>
              </a:ext>
            </a:extLst>
          </p:cNvPr>
          <p:cNvSpPr txBox="1"/>
          <p:nvPr/>
        </p:nvSpPr>
        <p:spPr>
          <a:xfrm>
            <a:off x="503238" y="4382778"/>
            <a:ext cx="2115675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ea typeface="Arial Unicode MS" pitchFamily="34" charset="-128"/>
                <a:cs typeface="Arial Unicode MS" pitchFamily="34" charset="-128"/>
              </a:rPr>
              <a:t>Mathias Rup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ea typeface="Arial Unicode MS" pitchFamily="34" charset="-128"/>
                <a:cs typeface="Arial Unicode MS" pitchFamily="34" charset="-128"/>
              </a:rPr>
              <a:t>Mathias.rup@sap.com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EF5116E6-860B-44C5-AC6D-B8F98494AC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17559" y="1549514"/>
            <a:ext cx="4352544" cy="435254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047475B-04DD-42EB-B85D-A7D516E03727}"/>
              </a:ext>
            </a:extLst>
          </p:cNvPr>
          <p:cNvSpPr txBox="1"/>
          <p:nvPr/>
        </p:nvSpPr>
        <p:spPr>
          <a:xfrm>
            <a:off x="503238" y="847989"/>
            <a:ext cx="109158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rgbClr val="000000"/>
                </a:solidFill>
                <a:latin typeface="Calibri" panose="020F0502020204030204" pitchFamily="34" charset="0"/>
              </a:rPr>
              <a:t>Please take a moment to tell us what you thought of this session – scan the QR Code to complete the session survey, and have your voice heard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AA9E75-6978-4B80-AAAE-EE101C480F09}"/>
              </a:ext>
            </a:extLst>
          </p:cNvPr>
          <p:cNvSpPr txBox="1"/>
          <p:nvPr/>
        </p:nvSpPr>
        <p:spPr>
          <a:xfrm>
            <a:off x="2952325" y="421870"/>
            <a:ext cx="60989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Session Survey- Tell us how we did!</a:t>
            </a:r>
            <a:endParaRPr lang="en-US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6402099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D5E51AD-282E-4D53-AB09-7312169F164D}"/>
              </a:ext>
            </a:extLst>
          </p:cNvPr>
          <p:cNvSpPr/>
          <p:nvPr/>
        </p:nvSpPr>
        <p:spPr bwMode="gray">
          <a:xfrm>
            <a:off x="6246449" y="2055043"/>
            <a:ext cx="2899139" cy="3949832"/>
          </a:xfrm>
          <a:prstGeom prst="roundRect">
            <a:avLst/>
          </a:prstGeom>
          <a:solidFill>
            <a:schemeClr val="tx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DE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3" name="Group 10">
            <a:extLst>
              <a:ext uri="{FF2B5EF4-FFF2-40B4-BE49-F238E27FC236}">
                <a16:creationId xmlns:a16="http://schemas.microsoft.com/office/drawing/2014/main" id="{12F62A4D-4DFC-B15D-D0B0-32434839A219}"/>
              </a:ext>
            </a:extLst>
          </p:cNvPr>
          <p:cNvGrpSpPr/>
          <p:nvPr/>
        </p:nvGrpSpPr>
        <p:grpSpPr>
          <a:xfrm>
            <a:off x="698571" y="692554"/>
            <a:ext cx="9089218" cy="3909352"/>
            <a:chOff x="696985" y="692554"/>
            <a:chExt cx="6140174" cy="2924439"/>
          </a:xfrm>
        </p:grpSpPr>
        <p:sp>
          <p:nvSpPr>
            <p:cNvPr id="4" name="TextBox 12">
              <a:extLst>
                <a:ext uri="{FF2B5EF4-FFF2-40B4-BE49-F238E27FC236}">
                  <a16:creationId xmlns:a16="http://schemas.microsoft.com/office/drawing/2014/main" id="{84B7BD90-7EFD-8815-707F-CFA385DE7A27}"/>
                </a:ext>
              </a:extLst>
            </p:cNvPr>
            <p:cNvSpPr txBox="1"/>
            <p:nvPr/>
          </p:nvSpPr>
          <p:spPr>
            <a:xfrm>
              <a:off x="696986" y="692554"/>
              <a:ext cx="6140173" cy="46047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ct val="0"/>
                </a:spcAft>
              </a:pPr>
              <a:r>
                <a:rPr lang="en-US" sz="4000" b="1" kern="0">
                  <a:latin typeface="Arial"/>
                  <a:ea typeface="Arial Unicode MS"/>
                  <a:cs typeface="Arial"/>
                </a:rPr>
                <a:t>Collect a piece of SAP’s heritage!</a:t>
              </a:r>
              <a:endParaRPr lang="de-DE" sz="4000" b="1">
                <a:cs typeface="Arial"/>
              </a:endParaRPr>
            </a:p>
          </p:txBody>
        </p:sp>
        <p:sp>
          <p:nvSpPr>
            <p:cNvPr id="5" name="TextBox 14">
              <a:extLst>
                <a:ext uri="{FF2B5EF4-FFF2-40B4-BE49-F238E27FC236}">
                  <a16:creationId xmlns:a16="http://schemas.microsoft.com/office/drawing/2014/main" id="{29DAEC27-9A30-3B4E-A0D0-61DE11E771D4}"/>
                </a:ext>
              </a:extLst>
            </p:cNvPr>
            <p:cNvSpPr txBox="1"/>
            <p:nvPr/>
          </p:nvSpPr>
          <p:spPr>
            <a:xfrm>
              <a:off x="696985" y="1775104"/>
              <a:ext cx="3146310" cy="184188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ct val="0"/>
                </a:spcAft>
              </a:pPr>
              <a:r>
                <a:rPr lang="en-US" sz="2000">
                  <a:ea typeface="+mn-lt"/>
                  <a:cs typeface="+mn-lt"/>
                </a:rPr>
                <a:t>To celebrate 50 years of SAP,</a:t>
              </a:r>
              <a:br>
                <a:rPr lang="en-US" sz="2000">
                  <a:ea typeface="+mn-lt"/>
                  <a:cs typeface="+mn-lt"/>
                </a:rPr>
              </a:br>
              <a:r>
                <a:rPr lang="en-US" sz="2000">
                  <a:ea typeface="+mn-lt"/>
                  <a:cs typeface="+mn-lt"/>
                </a:rPr>
                <a:t>SAP TechEd participants can</a:t>
              </a:r>
              <a:br>
                <a:rPr lang="en-US" sz="2000">
                  <a:ea typeface="+mn-lt"/>
                  <a:cs typeface="+mn-lt"/>
                </a:rPr>
              </a:br>
              <a:r>
                <a:rPr lang="en-US" sz="2000">
                  <a:ea typeface="+mn-lt"/>
                  <a:cs typeface="+mn-lt"/>
                </a:rPr>
                <a:t>collect unique NFTs that reimagine</a:t>
              </a:r>
              <a:br>
                <a:rPr lang="en-US" sz="2000">
                  <a:ea typeface="+mn-lt"/>
                  <a:cs typeface="+mn-lt"/>
                </a:rPr>
              </a:br>
              <a:r>
                <a:rPr lang="en-US" sz="2000">
                  <a:ea typeface="+mn-lt"/>
                  <a:cs typeface="+mn-lt"/>
                </a:rPr>
                <a:t>some of SAP’s most iconic moments.</a:t>
              </a:r>
            </a:p>
            <a:p>
              <a:pPr>
                <a:spcAft>
                  <a:spcPct val="0"/>
                </a:spcAft>
              </a:pPr>
              <a:endParaRPr lang="en-US" sz="2000">
                <a:ea typeface="+mn-lt"/>
                <a:cs typeface="+mn-lt"/>
              </a:endParaRPr>
            </a:p>
            <a:p>
              <a:pPr>
                <a:spcAft>
                  <a:spcPct val="0"/>
                </a:spcAft>
              </a:pPr>
              <a:r>
                <a:rPr lang="en-US" sz="2000" b="1">
                  <a:ea typeface="+mn-lt"/>
                  <a:cs typeface="+mn-lt"/>
                </a:rPr>
                <a:t>Claim your NFT by scanning</a:t>
              </a:r>
              <a:br>
                <a:rPr lang="en-US" sz="2000" b="1">
                  <a:ea typeface="+mn-lt"/>
                  <a:cs typeface="+mn-lt"/>
                </a:rPr>
              </a:br>
              <a:r>
                <a:rPr lang="en-US" sz="2000" b="1">
                  <a:ea typeface="+mn-lt"/>
                  <a:cs typeface="+mn-lt"/>
                </a:rPr>
                <a:t>the QR code or using the</a:t>
              </a:r>
              <a:br>
                <a:rPr lang="en-US" sz="2000" b="1">
                  <a:ea typeface="+mn-lt"/>
                  <a:cs typeface="+mn-lt"/>
                </a:rPr>
              </a:br>
              <a:r>
                <a:rPr lang="en-US" sz="2000" b="1">
                  <a:ea typeface="+mn-lt"/>
                  <a:cs typeface="+mn-lt"/>
                </a:rPr>
                <a:t>4-digit code.</a:t>
              </a:r>
              <a:endParaRPr lang="en-US">
                <a:cs typeface="Arial"/>
              </a:endParaRPr>
            </a:p>
          </p:txBody>
        </p:sp>
      </p:grpSp>
      <p:sp>
        <p:nvSpPr>
          <p:cNvPr id="7" name="Sprechblase: rechteckig mit abgerundeten Ecken 6">
            <a:extLst>
              <a:ext uri="{FF2B5EF4-FFF2-40B4-BE49-F238E27FC236}">
                <a16:creationId xmlns:a16="http://schemas.microsoft.com/office/drawing/2014/main" id="{7DB8EC80-1E13-2F7A-9F92-4A5BA4A33140}"/>
              </a:ext>
            </a:extLst>
          </p:cNvPr>
          <p:cNvSpPr/>
          <p:nvPr/>
        </p:nvSpPr>
        <p:spPr bwMode="gray">
          <a:xfrm>
            <a:off x="9289597" y="1741814"/>
            <a:ext cx="1524534" cy="824006"/>
          </a:xfrm>
          <a:prstGeom prst="wedgeRoundRectCallout">
            <a:avLst>
              <a:gd name="adj1" fmla="val -63586"/>
              <a:gd name="adj2" fmla="val 95050"/>
              <a:gd name="adj3" fmla="val 16667"/>
            </a:avLst>
          </a:prstGeom>
          <a:solidFill>
            <a:schemeClr val="accent1"/>
          </a:solidFill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2000" b="1" kern="0">
                <a:ea typeface="Arial Unicode MS" pitchFamily="34" charset="-128"/>
                <a:cs typeface="Arial Unicode MS" pitchFamily="34" charset="-128"/>
              </a:rPr>
              <a:t>SCAN ME!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ABB3076-AB55-2552-E349-3923B871D4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18627" y="5465159"/>
            <a:ext cx="1048168" cy="115044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D898F458-FC43-4ED9-A0D2-C350E8A9EE3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16427" y="2906030"/>
            <a:ext cx="2159181" cy="2159181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F91A94F6-FD75-4EA5-BCD6-F432A7075C8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13257" y="2261852"/>
            <a:ext cx="589051" cy="46854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543DE885-E3DC-4DD9-AF79-75D480EE1B8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397027" y="2429204"/>
            <a:ext cx="1378581" cy="273232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08282D23-D463-4132-AF18-C0D0281C65BF}"/>
              </a:ext>
            </a:extLst>
          </p:cNvPr>
          <p:cNvSpPr/>
          <p:nvPr/>
        </p:nvSpPr>
        <p:spPr bwMode="gray">
          <a:xfrm>
            <a:off x="6613257" y="5599694"/>
            <a:ext cx="2159181" cy="26865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ker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https://50years.nft.net.sap</a:t>
            </a:r>
            <a:endParaRPr lang="en-DE" sz="1200" kern="0" err="1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45C723A-25BE-40ED-879B-568DA8A88472}"/>
              </a:ext>
            </a:extLst>
          </p:cNvPr>
          <p:cNvSpPr/>
          <p:nvPr/>
        </p:nvSpPr>
        <p:spPr bwMode="gray">
          <a:xfrm>
            <a:off x="6616427" y="5157440"/>
            <a:ext cx="2159181" cy="43752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>
              <a:spcBef>
                <a:spcPct val="50000"/>
              </a:spcBef>
              <a:spcAft>
                <a:spcPct val="0"/>
              </a:spcAft>
            </a:pPr>
            <a:r>
              <a:rPr lang="en-US" sz="3200" b="1" kern="0" dirty="0">
                <a:solidFill>
                  <a:schemeClr val="bg1"/>
                </a:solidFill>
                <a:latin typeface="Courier New"/>
                <a:ea typeface="Arial Unicode MS"/>
                <a:cs typeface="Courier New"/>
              </a:rPr>
              <a:t>C A Q 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1439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9B09F7-03AC-45F1-8DF7-3FD3748EB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TechEd sessio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E47F7E-7168-4BB9-B2ED-DDEFD07C11B6}"/>
              </a:ext>
            </a:extLst>
          </p:cNvPr>
          <p:cNvSpPr txBox="1"/>
          <p:nvPr/>
        </p:nvSpPr>
        <p:spPr>
          <a:xfrm>
            <a:off x="828136" y="1720985"/>
            <a:ext cx="10862341" cy="40979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2"/>
              </a:rPr>
              <a:t>Improve, Automate and Extend Business Processes with Low-Code/No-Code Tools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3"/>
              </a:rPr>
              <a:t>Speed Business Transformation with App Development and Automation Tools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4"/>
              </a:rPr>
              <a:t>Extend and Improve Standard Application Processes Easily</a:t>
            </a:r>
            <a:r>
              <a:rPr lang="en-US" sz="1800" b="1" u="sng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endParaRPr lang="en-US" sz="2000" b="1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5"/>
              </a:rPr>
              <a:t>Automate Arvato Systems - Bertelsmann Using SAP Process Automation 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6"/>
              </a:rPr>
              <a:t>Build Process Automations and Extensions to SAP Solutions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7"/>
              </a:rPr>
              <a:t>Build Robust Apps Enhanced with Process Automation and Low-Code Tooling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8"/>
              </a:rPr>
              <a:t>Get More from Your Bots: It's SAP Process Automation 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9"/>
              </a:rPr>
              <a:t>Automate Your Invoice Processing with SAP Process Automation</a:t>
            </a:r>
            <a:endParaRPr lang="en-US" sz="2000" u="sng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10"/>
              </a:rPr>
              <a:t>Execute Bots in SAP S/4HANA Cloud with SAP Process Automation</a:t>
            </a:r>
            <a:r>
              <a:rPr lang="en-US" sz="1800" b="1" u="sng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</a:p>
          <a:p>
            <a:pPr marL="457200" marR="0" lvl="0" indent="-342900">
              <a:lnSpc>
                <a:spcPts val="1470"/>
              </a:lnSpc>
              <a:spcBef>
                <a:spcPts val="180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hlinkClick r:id="rId11"/>
              </a:rPr>
              <a:t>Driving Intelligent Automation with SAP Integration Suite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5446889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77D8A83-3752-43AA-B1BC-825736A321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77D8A83-3752-43AA-B1BC-825736A32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61A3AF5-B530-B241-B4B4-0C4DF157E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043967" y="2351999"/>
            <a:ext cx="11183564" cy="638636"/>
          </a:xfrm>
        </p:spPr>
        <p:txBody>
          <a:bodyPr vert="horz"/>
          <a:lstStyle/>
          <a:p>
            <a:r>
              <a:rPr lang="en-US" sz="2350"/>
              <a:t>Open new career opportunities</a:t>
            </a:r>
            <a:br>
              <a:rPr lang="en-US" sz="2350">
                <a:cs typeface="Arial"/>
              </a:rPr>
            </a:br>
            <a:r>
              <a:rPr lang="en-US" sz="1800" b="0"/>
              <a:t>Join</a:t>
            </a:r>
            <a:r>
              <a:rPr lang="en-US" sz="1800" b="0">
                <a:ea typeface="+mj-lt"/>
                <a:cs typeface="+mj-lt"/>
              </a:rPr>
              <a:t> the community of people with skills for the future</a:t>
            </a:r>
            <a:endParaRPr lang="en-US" sz="1800" b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4F2C79A-229F-46E4-B349-2494DA102707}"/>
              </a:ext>
            </a:extLst>
          </p:cNvPr>
          <p:cNvSpPr/>
          <p:nvPr/>
        </p:nvSpPr>
        <p:spPr>
          <a:xfrm>
            <a:off x="505455" y="6241893"/>
            <a:ext cx="1118648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64770" indent="-64770">
              <a:defRPr/>
            </a:pPr>
            <a:r>
              <a:rPr lang="en-US" sz="800"/>
              <a:t>1. </a:t>
            </a:r>
            <a:r>
              <a:rPr lang="en-US" sz="800">
                <a:solidFill>
                  <a:srgbClr val="000000"/>
                </a:solidFill>
                <a:hlinkClick r:id="rId6"/>
              </a:rPr>
              <a:t>Pearson VUE’s Latest “Value of IT Certification” Study Highlights Benefits of IT Certification in Challenging Times,”</a:t>
            </a:r>
            <a:r>
              <a:rPr lang="en-US" sz="800">
                <a:solidFill>
                  <a:srgbClr val="000000"/>
                </a:solidFill>
              </a:rPr>
              <a:t> Pearson Education Inc., May 25, </a:t>
            </a:r>
            <a:r>
              <a:rPr lang="en-US" sz="800"/>
              <a:t>2021.</a:t>
            </a:r>
          </a:p>
          <a:p>
            <a:pPr marL="64770" indent="-64770">
              <a:defRPr/>
            </a:pPr>
            <a:r>
              <a:rPr lang="en-US" sz="800"/>
              <a:t>2. Chuck Cooper, </a:t>
            </a:r>
            <a:r>
              <a:rPr lang="en-US" sz="800">
                <a:hlinkClick r:id="rId7"/>
              </a:rPr>
              <a:t>Why Get IT Certified? The Value of IT Certification: An IT Certification White Paper</a:t>
            </a:r>
            <a:r>
              <a:rPr lang="en-US" sz="800"/>
              <a:t>, IT Certification Council, March 2021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5DE68E4-C9C0-46F7-9903-A378E42D73DA}"/>
              </a:ext>
            </a:extLst>
          </p:cNvPr>
          <p:cNvSpPr/>
          <p:nvPr/>
        </p:nvSpPr>
        <p:spPr bwMode="gray">
          <a:xfrm>
            <a:off x="-4274" y="1624747"/>
            <a:ext cx="12192000" cy="102362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  <a:effectLst/>
        </p:spPr>
        <p:txBody>
          <a:bodyPr lIns="89977" tIns="71981" rIns="89977" bIns="71981" rtlCol="0" anchor="ctr"/>
          <a:lstStyle/>
          <a:p>
            <a:pPr>
              <a:spcBef>
                <a:spcPts val="600"/>
              </a:spcBef>
              <a:defRPr/>
            </a:pPr>
            <a:r>
              <a:rPr lang="en-US" sz="1600">
                <a:solidFill>
                  <a:srgbClr val="000000">
                    <a:lumMod val="75000"/>
                    <a:lumOff val="25000"/>
                  </a:srgbClr>
                </a:solidFill>
              </a:rPr>
              <a:t>  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1B02FBF-09A2-4A6F-AED7-39896CF726A2}"/>
              </a:ext>
            </a:extLst>
          </p:cNvPr>
          <p:cNvSpPr/>
          <p:nvPr/>
        </p:nvSpPr>
        <p:spPr>
          <a:xfrm>
            <a:off x="5897563" y="1813390"/>
            <a:ext cx="1306471" cy="64633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0795" defTabSz="1088122" fontAlgn="base">
              <a:buClr>
                <a:srgbClr val="F0AB00"/>
              </a:buClr>
              <a:buSzPct val="80000"/>
              <a:defRPr/>
            </a:pPr>
            <a:r>
              <a:rPr lang="en-US" sz="2800" b="1" kern="0">
                <a:solidFill>
                  <a:schemeClr val="accent3"/>
                </a:solidFill>
                <a:ea typeface="Arial Unicode MS"/>
                <a:cs typeface="Arial Unicode MS"/>
              </a:rPr>
              <a:t>61%</a:t>
            </a:r>
            <a:endParaRPr lang="en-US">
              <a:solidFill>
                <a:schemeClr val="accent3"/>
              </a:solidFill>
              <a:ea typeface="Arial Unicode MS"/>
              <a:cs typeface="Arial Unicode MS"/>
            </a:endParaRPr>
          </a:p>
          <a:p>
            <a:pPr marL="10795" defTabSz="1088122" fontAlgn="base">
              <a:buClr>
                <a:srgbClr val="F0AB00"/>
              </a:buClr>
              <a:buSzPct val="80000"/>
              <a:defRPr/>
            </a:pPr>
            <a:r>
              <a:rPr lang="en-US" sz="1400"/>
              <a:t>Get promotions</a:t>
            </a:r>
            <a:r>
              <a:rPr lang="en-US" sz="1400" baseline="30000">
                <a:solidFill>
                  <a:srgbClr val="000000"/>
                </a:solidFill>
              </a:rPr>
              <a:t>1</a:t>
            </a:r>
            <a:endParaRPr lang="en-US" sz="1400">
              <a:cs typeface="Arial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0B2D7DFC-953F-4EDA-9C0B-67C89AA2599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4195" y="1614560"/>
            <a:ext cx="1044000" cy="1044000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B6C139E0-C9AE-4EEF-AFDA-2C430FFCDF03}"/>
              </a:ext>
            </a:extLst>
          </p:cNvPr>
          <p:cNvSpPr txBox="1"/>
          <p:nvPr/>
        </p:nvSpPr>
        <p:spPr>
          <a:xfrm>
            <a:off x="1454322" y="1859561"/>
            <a:ext cx="4081393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1800" b="1">
                <a:solidFill>
                  <a:srgbClr val="000000"/>
                </a:solidFill>
              </a:rPr>
              <a:t>Check </a:t>
            </a:r>
            <a:r>
              <a:rPr lang="en-US" sz="1800">
                <a:solidFill>
                  <a:srgbClr val="000000"/>
                </a:solidFill>
                <a:hlinkClick r:id="rId9"/>
              </a:rPr>
              <a:t>learning.sap.com/teched</a:t>
            </a:r>
            <a:br>
              <a:rPr lang="en-US" sz="1800">
                <a:solidFill>
                  <a:srgbClr val="000000"/>
                </a:solidFill>
              </a:rPr>
            </a:br>
            <a:r>
              <a:rPr lang="en-US" sz="1800">
                <a:solidFill>
                  <a:srgbClr val="000000"/>
                </a:solidFill>
              </a:rPr>
              <a:t>to benefit like other certified experts: 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87D7A2A-A60B-4C75-BB30-9D236437BE95}"/>
              </a:ext>
            </a:extLst>
          </p:cNvPr>
          <p:cNvCxnSpPr/>
          <p:nvPr/>
        </p:nvCxnSpPr>
        <p:spPr>
          <a:xfrm>
            <a:off x="-20081" y="2648373"/>
            <a:ext cx="12192000" cy="0"/>
          </a:xfrm>
          <a:prstGeom prst="line">
            <a:avLst/>
          </a:prstGeom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0E87ED6-281C-42E2-944F-C3184EE9ED23}"/>
              </a:ext>
            </a:extLst>
          </p:cNvPr>
          <p:cNvGrpSpPr/>
          <p:nvPr/>
        </p:nvGrpSpPr>
        <p:grpSpPr>
          <a:xfrm>
            <a:off x="7644616" y="1813390"/>
            <a:ext cx="1824525" cy="646331"/>
            <a:chOff x="7644914" y="1813389"/>
            <a:chExt cx="1824525" cy="646331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AE18954-4CF9-412B-AE2D-BA29A3F7B5A1}"/>
                </a:ext>
              </a:extLst>
            </p:cNvPr>
            <p:cNvSpPr/>
            <p:nvPr/>
          </p:nvSpPr>
          <p:spPr>
            <a:xfrm>
              <a:off x="7644914" y="1813389"/>
              <a:ext cx="772010" cy="43088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2800" b="1" kern="0">
                  <a:solidFill>
                    <a:srgbClr val="4FB81C"/>
                  </a:solidFill>
                  <a:ea typeface="Arial Unicode MS"/>
                  <a:cs typeface="Arial"/>
                </a:rPr>
                <a:t>91%</a:t>
              </a:r>
              <a:endParaRPr lang="en-US" sz="1800">
                <a:solidFill>
                  <a:srgbClr val="4FB81C"/>
                </a:solidFill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E0478641-AD9F-43B4-9FD4-EE804A660963}"/>
                </a:ext>
              </a:extLst>
            </p:cNvPr>
            <p:cNvSpPr/>
            <p:nvPr/>
          </p:nvSpPr>
          <p:spPr>
            <a:xfrm>
              <a:off x="8483115" y="1994364"/>
              <a:ext cx="986324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Increase </a:t>
              </a:r>
              <a:endParaRPr lang="en-US" sz="1400" baseline="30000">
                <a:solidFill>
                  <a:srgbClr val="000000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32A16C6-3F5F-4EDB-A61B-FAC4C8405AB4}"/>
                </a:ext>
              </a:extLst>
            </p:cNvPr>
            <p:cNvSpPr/>
            <p:nvPr/>
          </p:nvSpPr>
          <p:spPr>
            <a:xfrm>
              <a:off x="7644914" y="2244276"/>
              <a:ext cx="1791185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confidence in abilities</a:t>
              </a:r>
              <a:r>
                <a:rPr lang="en-US" sz="1400" baseline="30000">
                  <a:solidFill>
                    <a:srgbClr val="000000"/>
                  </a:solidFill>
                </a:rPr>
                <a:t>1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EC8A6FF-3E9D-4CA0-9415-3B2CC5E5DAC0}"/>
              </a:ext>
            </a:extLst>
          </p:cNvPr>
          <p:cNvGrpSpPr/>
          <p:nvPr/>
        </p:nvGrpSpPr>
        <p:grpSpPr>
          <a:xfrm>
            <a:off x="9909722" y="1813390"/>
            <a:ext cx="2121726" cy="646331"/>
            <a:chOff x="9908135" y="1813389"/>
            <a:chExt cx="1871248" cy="646331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51C8C6AE-A1D9-4DFC-9DE2-A32258015FC9}"/>
                </a:ext>
              </a:extLst>
            </p:cNvPr>
            <p:cNvSpPr/>
            <p:nvPr/>
          </p:nvSpPr>
          <p:spPr>
            <a:xfrm>
              <a:off x="9908135" y="1813389"/>
              <a:ext cx="863372" cy="43088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2800" b="1" kern="0">
                  <a:solidFill>
                    <a:srgbClr val="008FD3"/>
                  </a:solidFill>
                  <a:ea typeface="Arial Unicode MS"/>
                  <a:cs typeface="Arial Unicode MS"/>
                </a:rPr>
                <a:t>&gt;71%</a:t>
              </a:r>
              <a:endParaRPr lang="en-US" sz="1800">
                <a:solidFill>
                  <a:srgbClr val="008FD3"/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D7DBCC9F-4F94-4B75-B36A-9D9618A92868}"/>
                </a:ext>
              </a:extLst>
            </p:cNvPr>
            <p:cNvSpPr/>
            <p:nvPr/>
          </p:nvSpPr>
          <p:spPr>
            <a:xfrm>
              <a:off x="10793059" y="1994364"/>
              <a:ext cx="986324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Increase </a:t>
              </a:r>
              <a:endParaRPr lang="en-US" sz="1400" baseline="30000">
                <a:solidFill>
                  <a:srgbClr val="000000"/>
                </a:solidFill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1AEDB908-0158-4690-A5F5-D30D4B004546}"/>
                </a:ext>
              </a:extLst>
            </p:cNvPr>
            <p:cNvSpPr/>
            <p:nvPr/>
          </p:nvSpPr>
          <p:spPr>
            <a:xfrm>
              <a:off x="9908135" y="2244276"/>
              <a:ext cx="1791185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</a:rPr>
                <a:t>problem-solving skills</a:t>
              </a:r>
              <a:r>
                <a:rPr lang="en-US" sz="1400" baseline="30000">
                  <a:solidFill>
                    <a:srgbClr val="000000"/>
                  </a:solidFill>
                </a:rPr>
                <a:t>2</a:t>
              </a:r>
            </a:p>
          </p:txBody>
        </p:sp>
      </p:grp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8D6815CC-63C3-4442-AC0C-02C53B022EF8}"/>
              </a:ext>
            </a:extLst>
          </p:cNvPr>
          <p:cNvSpPr txBox="1">
            <a:spLocks/>
          </p:cNvSpPr>
          <p:nvPr/>
        </p:nvSpPr>
        <p:spPr bwMode="black">
          <a:xfrm>
            <a:off x="7479556" y="3353578"/>
            <a:ext cx="3521908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2400"/>
              </a:spcBef>
              <a:spcAft>
                <a:spcPts val="1200"/>
              </a:spcAft>
            </a:pPr>
            <a:r>
              <a:rPr lang="en-US" sz="1600" b="1"/>
              <a:t>Expand your </a:t>
            </a:r>
            <a:br>
              <a:rPr lang="en-US" sz="1600" b="1"/>
            </a:br>
            <a:r>
              <a:rPr lang="en-US" sz="1600" b="1"/>
              <a:t>conference experience: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706C82E7-8658-4021-96EE-47C1E7AC038B}"/>
              </a:ext>
            </a:extLst>
          </p:cNvPr>
          <p:cNvSpPr txBox="1">
            <a:spLocks/>
          </p:cNvSpPr>
          <p:nvPr/>
        </p:nvSpPr>
        <p:spPr bwMode="black">
          <a:xfrm>
            <a:off x="1334131" y="3353578"/>
            <a:ext cx="361093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400"/>
              </a:spcBef>
              <a:spcAft>
                <a:spcPts val="1200"/>
              </a:spcAft>
            </a:pPr>
            <a:r>
              <a:rPr lang="en-US" sz="1600" b="1"/>
              <a:t>Become an SAP solution expert – </a:t>
            </a:r>
            <a:br>
              <a:rPr lang="en-US" sz="1600" b="1"/>
            </a:br>
            <a:r>
              <a:rPr lang="en-US" sz="1600" b="1"/>
              <a:t>now as easy as 1,2,3 in one place:</a:t>
            </a:r>
            <a:endParaRPr lang="en-US">
              <a:cs typeface="Arial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137A0DE3-F23B-409F-B62F-7A52BA3E045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4100" y="2884103"/>
            <a:ext cx="1098174" cy="1098174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7858A86C-2D08-4A21-A7C4-80C89AF98A6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62700" y="2863762"/>
            <a:ext cx="1098000" cy="1098000"/>
          </a:xfrm>
          <a:prstGeom prst="rect">
            <a:avLst/>
          </a:prstGeom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BB96E99D-AF25-47DC-AE63-A5CE88E3261B}"/>
              </a:ext>
            </a:extLst>
          </p:cNvPr>
          <p:cNvGrpSpPr/>
          <p:nvPr/>
        </p:nvGrpSpPr>
        <p:grpSpPr>
          <a:xfrm>
            <a:off x="5287012" y="4144743"/>
            <a:ext cx="605788" cy="518412"/>
            <a:chOff x="4573952" y="4284443"/>
            <a:chExt cx="605788" cy="518412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12E5D088-AE95-4411-ABCA-09B8EA46C23D}"/>
                </a:ext>
              </a:extLst>
            </p:cNvPr>
            <p:cNvSpPr/>
            <p:nvPr/>
          </p:nvSpPr>
          <p:spPr bwMode="gray">
            <a:xfrm>
              <a:off x="4573952" y="4325939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58" name="Graphic 57" descr="New with solid fill">
              <a:extLst>
                <a:ext uri="{FF2B5EF4-FFF2-40B4-BE49-F238E27FC236}">
                  <a16:creationId xmlns:a16="http://schemas.microsoft.com/office/drawing/2014/main" id="{4BD57D32-6460-4AC6-873B-21B497127B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4956056" y="4284443"/>
              <a:ext cx="223684" cy="223684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D94A698-2A5B-4F31-8132-8D559DD4ADD9}"/>
              </a:ext>
            </a:extLst>
          </p:cNvPr>
          <p:cNvGrpSpPr/>
          <p:nvPr/>
        </p:nvGrpSpPr>
        <p:grpSpPr>
          <a:xfrm>
            <a:off x="11048598" y="4144743"/>
            <a:ext cx="616578" cy="518412"/>
            <a:chOff x="11047011" y="4220943"/>
            <a:chExt cx="616578" cy="518412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D78089C-41A0-411E-97D6-BD386DD3F18D}"/>
                </a:ext>
              </a:extLst>
            </p:cNvPr>
            <p:cNvSpPr/>
            <p:nvPr/>
          </p:nvSpPr>
          <p:spPr bwMode="gray">
            <a:xfrm>
              <a:off x="11047011" y="4262439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61" name="Graphic 60" descr="New with solid fill">
              <a:extLst>
                <a:ext uri="{FF2B5EF4-FFF2-40B4-BE49-F238E27FC236}">
                  <a16:creationId xmlns:a16="http://schemas.microsoft.com/office/drawing/2014/main" id="{5E86CDF7-8704-479B-B584-8AE9E69868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11439905" y="4220943"/>
              <a:ext cx="223684" cy="223684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D7994D9-DAD3-4A5A-8AEA-8A1DF7E953C9}"/>
              </a:ext>
            </a:extLst>
          </p:cNvPr>
          <p:cNvGrpSpPr/>
          <p:nvPr/>
        </p:nvGrpSpPr>
        <p:grpSpPr>
          <a:xfrm>
            <a:off x="11048598" y="5056685"/>
            <a:ext cx="616578" cy="486662"/>
            <a:chOff x="11047011" y="5252818"/>
            <a:chExt cx="616578" cy="486662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3A1B935D-16DA-4AD6-B08F-5A825E64E5E3}"/>
                </a:ext>
              </a:extLst>
            </p:cNvPr>
            <p:cNvSpPr/>
            <p:nvPr/>
          </p:nvSpPr>
          <p:spPr bwMode="gray">
            <a:xfrm>
              <a:off x="11047011" y="5262564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64" name="Graphic 63" descr="New with solid fill">
              <a:extLst>
                <a:ext uri="{FF2B5EF4-FFF2-40B4-BE49-F238E27FC236}">
                  <a16:creationId xmlns:a16="http://schemas.microsoft.com/office/drawing/2014/main" id="{76707426-0CAB-445F-9B93-6251F70A72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11439905" y="5252818"/>
              <a:ext cx="223684" cy="223684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231E530-E477-468D-9D89-66391E0FAF80}"/>
              </a:ext>
            </a:extLst>
          </p:cNvPr>
          <p:cNvGrpSpPr/>
          <p:nvPr/>
        </p:nvGrpSpPr>
        <p:grpSpPr>
          <a:xfrm>
            <a:off x="5287012" y="5056685"/>
            <a:ext cx="605788" cy="518412"/>
            <a:chOff x="4587726" y="5177335"/>
            <a:chExt cx="605788" cy="518412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D1685918-084E-419F-9F2A-5981411FA8E3}"/>
                </a:ext>
              </a:extLst>
            </p:cNvPr>
            <p:cNvSpPr/>
            <p:nvPr/>
          </p:nvSpPr>
          <p:spPr bwMode="gray">
            <a:xfrm>
              <a:off x="4587726" y="5218831"/>
              <a:ext cx="478092" cy="476916"/>
            </a:xfrm>
            <a:prstGeom prst="ellipse">
              <a:avLst/>
            </a:prstGeom>
            <a:solidFill>
              <a:schemeClr val="accent4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>
              <a:defPPr>
                <a:defRPr lang="en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SAP TechEd OFFER</a:t>
              </a:r>
            </a:p>
          </p:txBody>
        </p:sp>
        <p:pic>
          <p:nvPicPr>
            <p:cNvPr id="67" name="Graphic 22" descr="New with solid fill">
              <a:extLst>
                <a:ext uri="{FF2B5EF4-FFF2-40B4-BE49-F238E27FC236}">
                  <a16:creationId xmlns:a16="http://schemas.microsoft.com/office/drawing/2014/main" id="{820F2744-C7B4-4161-8B80-90D4EB1FFC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4969830" y="5177335"/>
              <a:ext cx="223684" cy="223684"/>
            </a:xfrm>
            <a:prstGeom prst="rect">
              <a:avLst/>
            </a:prstGeom>
          </p:spPr>
        </p:pic>
      </p:grp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8063F240-398A-4D7B-B8E1-FC9A8DDD655F}"/>
              </a:ext>
            </a:extLst>
          </p:cNvPr>
          <p:cNvCxnSpPr/>
          <p:nvPr/>
        </p:nvCxnSpPr>
        <p:spPr>
          <a:xfrm>
            <a:off x="-20081" y="2648373"/>
            <a:ext cx="12192000" cy="0"/>
          </a:xfrm>
          <a:prstGeom prst="line">
            <a:avLst/>
          </a:prstGeom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6339C549-48B9-4109-8618-70CE962DC424}"/>
              </a:ext>
            </a:extLst>
          </p:cNvPr>
          <p:cNvSpPr txBox="1">
            <a:spLocks/>
          </p:cNvSpPr>
          <p:nvPr/>
        </p:nvSpPr>
        <p:spPr bwMode="black">
          <a:xfrm>
            <a:off x="6381019" y="4210827"/>
            <a:ext cx="4644168" cy="170816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Connect with experts, share your knowledge, expand your network, and collaborate with </a:t>
            </a:r>
            <a:br>
              <a:rPr lang="en-US" sz="1600"/>
            </a:br>
            <a:r>
              <a:rPr lang="en-US" sz="1600"/>
              <a:t>peers in </a:t>
            </a:r>
            <a:r>
              <a:rPr lang="en-US" sz="1600" b="1"/>
              <a:t>SAP Community</a:t>
            </a:r>
          </a:p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Network with other participants in the group for </a:t>
            </a:r>
            <a:r>
              <a:rPr lang="en-US" sz="1600" b="1">
                <a:hlinkClick r:id="rId14"/>
              </a:rPr>
              <a:t>SAP TechEd</a:t>
            </a:r>
            <a:r>
              <a:rPr lang="en-US" sz="1600"/>
              <a:t> and join the </a:t>
            </a:r>
            <a:r>
              <a:rPr lang="en-US" sz="1600" b="1">
                <a:hlinkClick r:id="rId15"/>
              </a:rPr>
              <a:t>SAP Learning Groups</a:t>
            </a:r>
            <a:r>
              <a:rPr lang="en-US" sz="1600" b="1"/>
              <a:t> </a:t>
            </a:r>
            <a:r>
              <a:rPr lang="en-US" sz="1600"/>
              <a:t>to get your learning questions answered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0693DA4C-CE0B-4C21-BD86-A4BE4F139B20}"/>
              </a:ext>
            </a:extLst>
          </p:cNvPr>
          <p:cNvSpPr txBox="1">
            <a:spLocks/>
          </p:cNvSpPr>
          <p:nvPr/>
        </p:nvSpPr>
        <p:spPr bwMode="black">
          <a:xfrm>
            <a:off x="504827" y="4210828"/>
            <a:ext cx="5008561" cy="146193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Follow expert-led </a:t>
            </a:r>
            <a:r>
              <a:rPr lang="en-US" sz="1600" b="1"/>
              <a:t>l</a:t>
            </a:r>
            <a:r>
              <a:rPr lang="en-US" sz="1600" b="1">
                <a:ea typeface="+mn-lt"/>
                <a:cs typeface="+mn-lt"/>
              </a:rPr>
              <a:t>earning journeys </a:t>
            </a:r>
            <a:r>
              <a:rPr lang="en-US" sz="1600" b="1"/>
              <a:t>and live sessions</a:t>
            </a:r>
            <a:r>
              <a:rPr lang="en-US" sz="1600"/>
              <a:t> for various development roles </a:t>
            </a:r>
            <a:br>
              <a:rPr lang="en-US" sz="1600"/>
            </a:br>
            <a:r>
              <a:rPr lang="en-US" sz="1600"/>
              <a:t>to upskill and </a:t>
            </a:r>
            <a:r>
              <a:rPr lang="en-US" sz="1600" b="1">
                <a:ea typeface="+mn-lt"/>
                <a:cs typeface="+mn-lt"/>
              </a:rPr>
              <a:t>prepare for certification</a:t>
            </a:r>
          </a:p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Benefit from the </a:t>
            </a:r>
            <a:r>
              <a:rPr lang="en-US" sz="1600" b="1"/>
              <a:t>event-exclusive </a:t>
            </a:r>
            <a:br>
              <a:rPr lang="en-US" sz="1600" b="1"/>
            </a:br>
            <a:r>
              <a:rPr lang="en-US" sz="1600" b="1"/>
              <a:t>certification offer </a:t>
            </a:r>
            <a:endParaRPr lang="en-US" sz="1600" b="1"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114F6D3-F0CC-4943-BF14-0DE81EC1DEEC}"/>
              </a:ext>
            </a:extLst>
          </p:cNvPr>
          <p:cNvSpPr/>
          <p:nvPr/>
        </p:nvSpPr>
        <p:spPr bwMode="gray">
          <a:xfrm>
            <a:off x="0" y="-331597"/>
            <a:ext cx="4914900" cy="301445"/>
          </a:xfrm>
          <a:prstGeom prst="rect">
            <a:avLst/>
          </a:prstGeom>
          <a:solidFill>
            <a:srgbClr val="FF0000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Mandatory Slide - Talk track available in the notes</a:t>
            </a:r>
          </a:p>
        </p:txBody>
      </p:sp>
    </p:spTree>
    <p:extLst>
      <p:ext uri="{BB962C8B-B14F-4D97-AF65-F5344CB8AC3E}">
        <p14:creationId xmlns:p14="http://schemas.microsoft.com/office/powerpoint/2010/main" val="41882100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genda items"/>
          <p:cNvSpPr>
            <a:spLocks noGrp="1"/>
          </p:cNvSpPr>
          <p:nvPr>
            <p:ph type="body" sz="quarter" idx="10"/>
          </p:nvPr>
        </p:nvSpPr>
        <p:spPr bwMode="gray">
          <a:xfrm>
            <a:off x="504000" y="1620000"/>
            <a:ext cx="11185200" cy="4716000"/>
          </a:xfrm>
        </p:spPr>
        <p:txBody>
          <a:bodyPr/>
          <a:lstStyle/>
          <a:p>
            <a:r>
              <a:rPr lang="en-US" dirty="0"/>
              <a:t>SAP Build Process Automation </a:t>
            </a:r>
          </a:p>
          <a:p>
            <a:pPr lvl="1"/>
            <a:r>
              <a:rPr lang="en-US" dirty="0"/>
              <a:t>Introduction</a:t>
            </a:r>
            <a:endParaRPr lang="en-US" b="0" i="0" dirty="0">
              <a:solidFill>
                <a:srgbClr val="32363A"/>
              </a:solidFill>
              <a:effectLst/>
              <a:latin typeface="72" panose="020B0503030000000003" pitchFamily="34" charset="0"/>
            </a:endParaRP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Solution Overview</a:t>
            </a: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SAP S/4HANA Cloud Out-of-Box Prebuilt Content</a:t>
            </a:r>
            <a:endParaRPr lang="en-US" dirty="0"/>
          </a:p>
          <a:p>
            <a:r>
              <a:rPr lang="en-US" dirty="0"/>
              <a:t>Hands-on Exercise - Extend SAP S/4HANA Prebuilt Content with Workflow</a:t>
            </a: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Hands-on Exercise Flow</a:t>
            </a:r>
            <a:endParaRPr lang="en-US" dirty="0"/>
          </a:p>
        </p:txBody>
      </p:sp>
      <p:sp>
        <p:nvSpPr>
          <p:cNvPr id="2" name="Agenda"/>
          <p:cNvSpPr>
            <a:spLocks noGrp="1"/>
          </p:cNvSpPr>
          <p:nvPr>
            <p:ph type="title"/>
          </p:nvPr>
        </p:nvSpPr>
        <p:spPr bwMode="gray"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custData r:id="rId1"/>
      <p:custData r:id="rId2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6FFB8CFC-77C2-CAEB-A038-1206E27D72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15343" b="42459"/>
          <a:stretch/>
        </p:blipFill>
        <p:spPr>
          <a:xfrm>
            <a:off x="1" y="3427200"/>
            <a:ext cx="12195175" cy="34308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EC46871-C60A-0B74-6C0B-9FC12D31CE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SAP Build </a:t>
            </a:r>
            <a:r>
              <a:rPr lang="en-US" dirty="0"/>
              <a:t>Process Automation </a:t>
            </a:r>
          </a:p>
        </p:txBody>
      </p:sp>
    </p:spTree>
    <p:extLst>
      <p:ext uri="{BB962C8B-B14F-4D97-AF65-F5344CB8AC3E}">
        <p14:creationId xmlns:p14="http://schemas.microsoft.com/office/powerpoint/2010/main" val="9171311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7FEC7F8C-BB4C-4AF7-AE7F-B7BA0AAE2C29}"/>
              </a:ext>
            </a:extLst>
          </p:cNvPr>
          <p:cNvSpPr txBox="1">
            <a:spLocks/>
          </p:cNvSpPr>
          <p:nvPr/>
        </p:nvSpPr>
        <p:spPr bwMode="black">
          <a:xfrm>
            <a:off x="1362654" y="3433575"/>
            <a:ext cx="2557297" cy="1727658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8" lvl="1" indent="-7938">
              <a:spcBef>
                <a:spcPts val="1800"/>
              </a:spcBef>
              <a:buSzPct val="80000"/>
              <a:buNone/>
            </a:pPr>
            <a:r>
              <a:rPr lang="en-US" b="1">
                <a:solidFill>
                  <a:schemeClr val="accent1"/>
                </a:solidFill>
              </a:rPr>
              <a:t>SAP Intelligent Robotic Process Automation</a:t>
            </a:r>
          </a:p>
          <a:p>
            <a:pPr marL="0" lvl="1" indent="0">
              <a:spcBef>
                <a:spcPts val="400"/>
              </a:spcBef>
              <a:buSzPct val="75000"/>
              <a:buNone/>
            </a:pPr>
            <a:r>
              <a:rPr lang="en-US" sz="1100" b="1"/>
              <a:t>Starting from</a:t>
            </a:r>
          </a:p>
          <a:p>
            <a:pPr marL="185738" lvl="1" indent="-185738">
              <a:spcBef>
                <a:spcPts val="400"/>
              </a:spcBef>
              <a:buSzPct val="75000"/>
              <a:buFont typeface="System Font Regular"/>
              <a:buChar char="■"/>
            </a:pPr>
            <a:r>
              <a:rPr lang="en-DE" sz="1100"/>
              <a:t>All automation capabilities, same runtime </a:t>
            </a:r>
            <a:br>
              <a:rPr lang="en-US" sz="1100"/>
            </a:br>
            <a:r>
              <a:rPr lang="en-DE" sz="1100"/>
              <a:t>– no migration efforts</a:t>
            </a:r>
          </a:p>
          <a:p>
            <a:pPr marL="179388" lvl="1" indent="-179388">
              <a:spcBef>
                <a:spcPts val="400"/>
              </a:spcBef>
              <a:buSzPct val="75000"/>
              <a:buFont typeface="System Font Regular"/>
              <a:buChar char="■"/>
            </a:pPr>
            <a:r>
              <a:rPr lang="en-DE" sz="1100"/>
              <a:t>Automation components, application, data, </a:t>
            </a:r>
            <a:br>
              <a:rPr lang="de-DE" sz="1100"/>
            </a:br>
            <a:r>
              <a:rPr lang="en-DE" sz="1100"/>
              <a:t>automations as reusable components</a:t>
            </a:r>
          </a:p>
          <a:p>
            <a:pPr marL="185738" lvl="1" indent="-185738">
              <a:spcBef>
                <a:spcPts val="400"/>
              </a:spcBef>
              <a:buSzPct val="75000"/>
              <a:buFont typeface="System Font Regular"/>
              <a:buChar char="■"/>
            </a:pPr>
            <a:r>
              <a:rPr lang="en-DE" sz="1100"/>
              <a:t>Side-by-side usage with reuse of </a:t>
            </a:r>
            <a:br>
              <a:rPr lang="en-US" sz="1100"/>
            </a:br>
            <a:r>
              <a:rPr lang="en-DE" sz="1100"/>
              <a:t>existing bot content</a:t>
            </a:r>
            <a:endParaRPr lang="en-US" sz="1100"/>
          </a:p>
          <a:p>
            <a:endParaRPr lang="en-DE" sz="120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5B32532-5FB6-4995-93C5-33AD979DB27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710" y="1796863"/>
            <a:ext cx="871130" cy="87113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8D44546-5C12-4083-B323-5A4D19540C6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275" y="3734816"/>
            <a:ext cx="871128" cy="871130"/>
          </a:xfrm>
          <a:prstGeom prst="rect">
            <a:avLst/>
          </a:prstGeom>
        </p:spPr>
      </p:pic>
      <p:sp>
        <p:nvSpPr>
          <p:cNvPr id="28" name="Text Placeholder 1">
            <a:extLst>
              <a:ext uri="{FF2B5EF4-FFF2-40B4-BE49-F238E27FC236}">
                <a16:creationId xmlns:a16="http://schemas.microsoft.com/office/drawing/2014/main" id="{1BA4CE9E-0E77-435B-9448-422F9A71F7C9}"/>
              </a:ext>
            </a:extLst>
          </p:cNvPr>
          <p:cNvSpPr txBox="1">
            <a:spLocks/>
          </p:cNvSpPr>
          <p:nvPr/>
        </p:nvSpPr>
        <p:spPr bwMode="black">
          <a:xfrm>
            <a:off x="1362654" y="5486099"/>
            <a:ext cx="6208532" cy="1074890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SzPct val="75000"/>
              <a:buNone/>
            </a:pPr>
            <a:r>
              <a:rPr lang="de-DE" b="1">
                <a:solidFill>
                  <a:schemeClr val="accent1"/>
                </a:solidFill>
              </a:rPr>
              <a:t>New customers</a:t>
            </a:r>
          </a:p>
          <a:p>
            <a:pPr marL="179388" lvl="1" indent="-179388">
              <a:spcBef>
                <a:spcPts val="400"/>
              </a:spcBef>
              <a:buSzPct val="75000"/>
              <a:buFont typeface="System Font Regular"/>
              <a:buChar char="■"/>
            </a:pPr>
            <a:r>
              <a:rPr lang="de-DE" sz="1050"/>
              <a:t>Explore </a:t>
            </a:r>
            <a:r>
              <a:rPr lang="de-DE" sz="1050" b="1"/>
              <a:t>no-code </a:t>
            </a:r>
            <a:r>
              <a:rPr lang="en-DE" sz="1050" b="1"/>
              <a:t>process automations </a:t>
            </a:r>
            <a:r>
              <a:rPr lang="en-DE" sz="1050"/>
              <a:t>with a </a:t>
            </a:r>
            <a:r>
              <a:rPr lang="en-DE" sz="1050" b="1"/>
              <a:t>citizen developer experience </a:t>
            </a:r>
          </a:p>
          <a:p>
            <a:pPr marL="179388" lvl="1" indent="-179388">
              <a:spcBef>
                <a:spcPts val="400"/>
              </a:spcBef>
              <a:buSzPct val="75000"/>
              <a:buFont typeface="System Font Regular"/>
              <a:buChar char="■"/>
            </a:pPr>
            <a:r>
              <a:rPr lang="en-DE" sz="1050"/>
              <a:t>Build simple forms and </a:t>
            </a:r>
            <a:r>
              <a:rPr lang="en-DE" sz="1050" b="1"/>
              <a:t>departmental process improvements</a:t>
            </a:r>
          </a:p>
          <a:p>
            <a:pPr marL="179388" lvl="1" indent="-179388">
              <a:spcBef>
                <a:spcPts val="400"/>
              </a:spcBef>
              <a:buSzPct val="75000"/>
              <a:buFont typeface="System Font Regular"/>
              <a:buChar char="■"/>
            </a:pPr>
            <a:r>
              <a:rPr lang="en-DE" sz="1050"/>
              <a:t>Benefit from a growing list of </a:t>
            </a:r>
            <a:r>
              <a:rPr lang="en-DE" sz="1050" b="1"/>
              <a:t>prebuilt business content </a:t>
            </a:r>
            <a:r>
              <a:rPr lang="en-DE" sz="1050"/>
              <a:t>and new skills 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82AA573-6CF3-B24C-8DAD-B4DCFEE22F48}"/>
              </a:ext>
            </a:extLst>
          </p:cNvPr>
          <p:cNvGrpSpPr/>
          <p:nvPr/>
        </p:nvGrpSpPr>
        <p:grpSpPr>
          <a:xfrm>
            <a:off x="236517" y="5486099"/>
            <a:ext cx="1002323" cy="1242185"/>
            <a:chOff x="2197629" y="4130443"/>
            <a:chExt cx="781537" cy="976267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71869B63-A11A-0045-8331-F6A80D6B1A97}"/>
                </a:ext>
              </a:extLst>
            </p:cNvPr>
            <p:cNvSpPr/>
            <p:nvPr/>
          </p:nvSpPr>
          <p:spPr>
            <a:xfrm>
              <a:off x="2197629" y="4798933"/>
              <a:ext cx="18473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en-US" sz="1400">
                <a:solidFill>
                  <a:schemeClr val="accent3"/>
                </a:solidFill>
              </a:endParaRPr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2F44D965-212E-5440-BA8E-D0936DDB3CA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98065" y="4130443"/>
              <a:ext cx="681101" cy="681101"/>
            </a:xfrm>
            <a:prstGeom prst="rect">
              <a:avLst/>
            </a:prstGeom>
          </p:spPr>
        </p:pic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E3E67ABD-E297-43E6-94D6-5A99108C388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0745" y="1917656"/>
            <a:ext cx="1707285" cy="1707285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46D5DA5E-8410-40BA-8A7E-CF9127CBE375}"/>
              </a:ext>
            </a:extLst>
          </p:cNvPr>
          <p:cNvSpPr/>
          <p:nvPr/>
        </p:nvSpPr>
        <p:spPr bwMode="gray">
          <a:xfrm>
            <a:off x="9825068" y="3448704"/>
            <a:ext cx="2568890" cy="82013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1088558" fontAlgn="base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chemeClr val="accent1"/>
              </a:buClr>
              <a:buSzPct val="80000"/>
              <a:tabLst/>
            </a:pPr>
            <a:r>
              <a:rPr lang="en-US" sz="1800" b="1">
                <a:solidFill>
                  <a:schemeClr val="accent3"/>
                </a:solidFill>
                <a:latin typeface="+mn-lt"/>
              </a:rPr>
              <a:t>SAP Process Automation</a:t>
            </a:r>
            <a:endParaRPr lang="en-DE" sz="1800" b="1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D40B87B-9C79-452B-9A1D-D67D6A0ACAC7}"/>
              </a:ext>
            </a:extLst>
          </p:cNvPr>
          <p:cNvSpPr txBox="1"/>
          <p:nvPr/>
        </p:nvSpPr>
        <p:spPr>
          <a:xfrm>
            <a:off x="4263381" y="3715100"/>
            <a:ext cx="2867910" cy="17697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>
              <a:spcBef>
                <a:spcPts val="400"/>
              </a:spcBef>
              <a:buSzPct val="75000"/>
              <a:buNone/>
            </a:pPr>
            <a:r>
              <a:rPr lang="en-US" sz="1100" b="1"/>
              <a:t>Looking for</a:t>
            </a:r>
            <a:endParaRPr lang="en-DE" sz="1100" b="1"/>
          </a:p>
          <a:p>
            <a:pPr marL="179388" lvl="1" indent="-179388" defTabSz="1088558">
              <a:spcBef>
                <a:spcPts val="400"/>
              </a:spcBef>
              <a:buClr>
                <a:schemeClr val="accent1"/>
              </a:buClr>
              <a:buSzPct val="75000"/>
              <a:buFont typeface="System Font Regular"/>
              <a:buChar char="■"/>
            </a:pPr>
            <a:r>
              <a:rPr lang="en-DE" sz="1100">
                <a:latin typeface="+mn-lt"/>
              </a:rPr>
              <a:t>Additional </a:t>
            </a:r>
            <a:r>
              <a:rPr lang="en-DE" sz="1100" b="1">
                <a:latin typeface="+mn-lt"/>
              </a:rPr>
              <a:t>citizen developer experience </a:t>
            </a:r>
            <a:r>
              <a:rPr lang="en-DE" sz="1100">
                <a:latin typeface="+mn-lt"/>
              </a:rPr>
              <a:t>for automating </a:t>
            </a:r>
            <a:br>
              <a:rPr lang="en-US" sz="1100">
                <a:latin typeface="+mn-lt"/>
              </a:rPr>
            </a:br>
            <a:r>
              <a:rPr lang="en-DE" sz="1100" b="1">
                <a:latin typeface="+mn-lt"/>
              </a:rPr>
              <a:t>E2E business processes</a:t>
            </a:r>
          </a:p>
          <a:p>
            <a:pPr marL="179388" lvl="1" indent="-179388" defTabSz="1088558">
              <a:spcBef>
                <a:spcPts val="400"/>
              </a:spcBef>
              <a:buClr>
                <a:schemeClr val="accent1"/>
              </a:buClr>
              <a:buSzPct val="75000"/>
              <a:buFont typeface="System Font Regular"/>
              <a:buChar char="■"/>
            </a:pPr>
            <a:r>
              <a:rPr lang="en-DE" sz="1100" b="1">
                <a:latin typeface="+mn-lt"/>
              </a:rPr>
              <a:t>Additional artifacts </a:t>
            </a:r>
            <a:r>
              <a:rPr lang="en-US" sz="1100">
                <a:latin typeface="+mn-lt"/>
              </a:rPr>
              <a:t>such as f</a:t>
            </a:r>
            <a:r>
              <a:rPr lang="en-DE" sz="1100" err="1">
                <a:latin typeface="+mn-lt"/>
              </a:rPr>
              <a:t>orms</a:t>
            </a:r>
            <a:r>
              <a:rPr lang="en-DE" sz="1100">
                <a:latin typeface="+mn-lt"/>
              </a:rPr>
              <a:t>, business decision rules</a:t>
            </a:r>
            <a:r>
              <a:rPr lang="en-US" sz="1100">
                <a:latin typeface="+mn-lt"/>
              </a:rPr>
              <a:t>,</a:t>
            </a:r>
            <a:r>
              <a:rPr lang="en-DE" sz="1100">
                <a:latin typeface="+mn-lt"/>
              </a:rPr>
              <a:t> and process visibility</a:t>
            </a:r>
          </a:p>
          <a:p>
            <a:pPr marL="179388" lvl="1" indent="-179388" defTabSz="1088558">
              <a:spcBef>
                <a:spcPts val="400"/>
              </a:spcBef>
              <a:buClr>
                <a:schemeClr val="accent1"/>
              </a:buClr>
              <a:buSzPct val="75000"/>
              <a:buFont typeface="System Font Regular"/>
              <a:buChar char="■"/>
            </a:pPr>
            <a:r>
              <a:rPr lang="en-DE" sz="1100" b="1">
                <a:latin typeface="+mn-lt"/>
              </a:rPr>
              <a:t>RPA content </a:t>
            </a:r>
            <a:r>
              <a:rPr lang="en-DE" sz="1100">
                <a:latin typeface="+mn-lt"/>
              </a:rPr>
              <a:t>plus growing new content artifacts (templates, skills) </a:t>
            </a:r>
          </a:p>
        </p:txBody>
      </p:sp>
      <p:sp>
        <p:nvSpPr>
          <p:cNvPr id="70" name="Text Placeholder 1">
            <a:extLst>
              <a:ext uri="{FF2B5EF4-FFF2-40B4-BE49-F238E27FC236}">
                <a16:creationId xmlns:a16="http://schemas.microsoft.com/office/drawing/2014/main" id="{2CBAD4A3-6144-45F5-B6EF-3BEAF076A1D6}"/>
              </a:ext>
            </a:extLst>
          </p:cNvPr>
          <p:cNvSpPr txBox="1">
            <a:spLocks/>
          </p:cNvSpPr>
          <p:nvPr/>
        </p:nvSpPr>
        <p:spPr bwMode="black">
          <a:xfrm>
            <a:off x="1367817" y="1325077"/>
            <a:ext cx="1782951" cy="179860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8" indent="-7938"/>
            <a:r>
              <a:rPr lang="en-US" sz="1800" b="1">
                <a:solidFill>
                  <a:schemeClr val="accent1"/>
                </a:solidFill>
              </a:rPr>
              <a:t>SAP Workflow Management</a:t>
            </a:r>
            <a:endParaRPr lang="en-DE" sz="1800" b="1">
              <a:solidFill>
                <a:schemeClr val="accent1"/>
              </a:solidFill>
            </a:endParaRPr>
          </a:p>
          <a:p>
            <a:pPr marL="0" lvl="1" indent="0">
              <a:spcBef>
                <a:spcPts val="400"/>
              </a:spcBef>
              <a:buSzPct val="75000"/>
              <a:buNone/>
            </a:pPr>
            <a:r>
              <a:rPr lang="en-US" sz="1100" b="1"/>
              <a:t>Starting from</a:t>
            </a:r>
          </a:p>
          <a:p>
            <a:pPr marL="179388" lvl="1" indent="-179388">
              <a:spcBef>
                <a:spcPts val="400"/>
              </a:spcBef>
              <a:buSzPct val="75000"/>
              <a:buFont typeface="System Font Regular"/>
              <a:buChar char="■"/>
            </a:pPr>
            <a:r>
              <a:rPr lang="en-DE" sz="1100"/>
              <a:t>All workflow management capabilities, </a:t>
            </a:r>
            <a:br>
              <a:rPr lang="en-US" sz="1100"/>
            </a:br>
            <a:r>
              <a:rPr lang="en-DE" sz="1100"/>
              <a:t>same runtime – no migration</a:t>
            </a:r>
          </a:p>
          <a:p>
            <a:pPr marL="179388" lvl="1" indent="-179388">
              <a:spcBef>
                <a:spcPts val="400"/>
              </a:spcBef>
              <a:buSzPct val="75000"/>
              <a:buFont typeface="System Font Regular"/>
              <a:buChar char="■"/>
            </a:pPr>
            <a:r>
              <a:rPr lang="en-DE" sz="1100"/>
              <a:t>Workflow components, process steps</a:t>
            </a:r>
            <a:r>
              <a:rPr lang="en-US" sz="1100"/>
              <a:t>,</a:t>
            </a:r>
            <a:r>
              <a:rPr lang="en-DE" sz="1100"/>
              <a:t> </a:t>
            </a:r>
            <a:br>
              <a:rPr lang="en-US" sz="1100"/>
            </a:br>
            <a:r>
              <a:rPr lang="en-DE" sz="1100"/>
              <a:t>and business rules as reusable artifacts</a:t>
            </a:r>
          </a:p>
          <a:p>
            <a:pPr marL="179388" lvl="1" indent="-179388">
              <a:spcBef>
                <a:spcPts val="400"/>
              </a:spcBef>
              <a:buSzPct val="75000"/>
              <a:buFont typeface="System Font Regular"/>
              <a:buChar char="■"/>
            </a:pPr>
            <a:r>
              <a:rPr lang="en-DE" sz="1100"/>
              <a:t>Side-by-side usage with reuse of existing </a:t>
            </a:r>
            <a:br>
              <a:rPr lang="en-US" sz="1100"/>
            </a:br>
            <a:r>
              <a:rPr lang="en-DE" sz="1100"/>
              <a:t>content </a:t>
            </a:r>
            <a:r>
              <a:rPr lang="en-US" sz="1100"/>
              <a:t>and</a:t>
            </a:r>
            <a:r>
              <a:rPr lang="en-DE" sz="1100"/>
              <a:t> workflow editor (LCAP)</a:t>
            </a:r>
            <a:endParaRPr lang="en-US" sz="110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60ADEC2-3BC5-43DF-BDF8-927A4B0E7D45}"/>
              </a:ext>
            </a:extLst>
          </p:cNvPr>
          <p:cNvSpPr txBox="1"/>
          <p:nvPr/>
        </p:nvSpPr>
        <p:spPr>
          <a:xfrm>
            <a:off x="4255400" y="1693498"/>
            <a:ext cx="2206204" cy="13798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>
              <a:spcBef>
                <a:spcPts val="400"/>
              </a:spcBef>
              <a:buSzPct val="75000"/>
              <a:buNone/>
            </a:pPr>
            <a:r>
              <a:rPr lang="en-US" sz="1100" b="1"/>
              <a:t>Looking for</a:t>
            </a:r>
            <a:endParaRPr lang="en-DE" sz="1100" b="1"/>
          </a:p>
          <a:p>
            <a:pPr marL="179388" lvl="1" indent="-179388" defTabSz="1088558">
              <a:spcBef>
                <a:spcPts val="400"/>
              </a:spcBef>
              <a:buClr>
                <a:schemeClr val="accent1"/>
              </a:buClr>
              <a:buSzPct val="75000"/>
              <a:buFont typeface="System Font Regular"/>
              <a:buChar char="■"/>
            </a:pPr>
            <a:r>
              <a:rPr lang="en-DE" sz="1100">
                <a:latin typeface="+mn-lt"/>
              </a:rPr>
              <a:t>Additional </a:t>
            </a:r>
            <a:r>
              <a:rPr lang="en-DE" sz="1100" b="1">
                <a:latin typeface="+mn-lt"/>
              </a:rPr>
              <a:t>citizen developer user experience </a:t>
            </a:r>
            <a:r>
              <a:rPr lang="en-DE" sz="1100">
                <a:latin typeface="+mn-lt"/>
              </a:rPr>
              <a:t>including native RPA/process builder</a:t>
            </a:r>
          </a:p>
          <a:p>
            <a:pPr marL="179388" lvl="1" indent="-179388" defTabSz="1088558">
              <a:spcBef>
                <a:spcPts val="400"/>
              </a:spcBef>
              <a:buClr>
                <a:schemeClr val="accent1"/>
              </a:buClr>
              <a:buSzPct val="75000"/>
              <a:buFont typeface="System Font Regular"/>
              <a:buChar char="■"/>
            </a:pPr>
            <a:r>
              <a:rPr lang="en-DE" sz="1100" b="1">
                <a:latin typeface="+mn-lt"/>
              </a:rPr>
              <a:t>Live process content </a:t>
            </a:r>
            <a:r>
              <a:rPr lang="en-DE" sz="1100">
                <a:latin typeface="+mn-lt"/>
              </a:rPr>
              <a:t>plus growing new content artifacts (templates, skills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8A4D65A-D2FF-498B-AFEE-0ADC07062F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ath to SAP Process Automation</a:t>
            </a:r>
            <a:br>
              <a:rPr lang="en-US" dirty="0"/>
            </a:br>
            <a:r>
              <a:rPr lang="en-US" sz="1800" b="0" dirty="0">
                <a:solidFill>
                  <a:schemeClr val="accent1"/>
                </a:solidFill>
              </a:rPr>
              <a:t>Move to process automation at your own speed or make a fresh start</a:t>
            </a:r>
            <a:endParaRPr lang="de-DE" b="0" dirty="0">
              <a:solidFill>
                <a:schemeClr val="accent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3E119FF9-9688-4999-82DC-CE14EB26F678}"/>
              </a:ext>
            </a:extLst>
          </p:cNvPr>
          <p:cNvSpPr/>
          <p:nvPr/>
        </p:nvSpPr>
        <p:spPr bwMode="gray">
          <a:xfrm>
            <a:off x="9905834" y="3510106"/>
            <a:ext cx="180000" cy="180000"/>
          </a:xfrm>
          <a:prstGeom prst="ellipse">
            <a:avLst/>
          </a:prstGeom>
          <a:solidFill>
            <a:schemeClr val="accent3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DE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90647B98-1FF4-014D-A80C-D4B9A776E7BC}"/>
              </a:ext>
            </a:extLst>
          </p:cNvPr>
          <p:cNvSpPr/>
          <p:nvPr/>
        </p:nvSpPr>
        <p:spPr bwMode="gray">
          <a:xfrm>
            <a:off x="4592172" y="1480483"/>
            <a:ext cx="5285877" cy="1948641"/>
          </a:xfrm>
          <a:custGeom>
            <a:avLst/>
            <a:gdLst>
              <a:gd name="connsiteX0" fmla="*/ 1903757 w 5285877"/>
              <a:gd name="connsiteY0" fmla="*/ 0 h 1948641"/>
              <a:gd name="connsiteX1" fmla="*/ 5256400 w 5285877"/>
              <a:gd name="connsiteY1" fmla="*/ 1819700 h 1948641"/>
              <a:gd name="connsiteX2" fmla="*/ 5285877 w 5285877"/>
              <a:gd name="connsiteY2" fmla="*/ 1919163 h 1948641"/>
              <a:gd name="connsiteX3" fmla="*/ 5186416 w 5285877"/>
              <a:gd name="connsiteY3" fmla="*/ 1948641 h 1948641"/>
              <a:gd name="connsiteX4" fmla="*/ 1868539 w 5285877"/>
              <a:gd name="connsiteY4" fmla="*/ 147811 h 1948641"/>
              <a:gd name="connsiteX5" fmla="*/ 0 w 5285877"/>
              <a:gd name="connsiteY5" fmla="*/ 147811 h 1948641"/>
              <a:gd name="connsiteX6" fmla="*/ 0 w 5285877"/>
              <a:gd name="connsiteY6" fmla="*/ 1102 h 1948641"/>
              <a:gd name="connsiteX7" fmla="*/ 1902352 w 5285877"/>
              <a:gd name="connsiteY7" fmla="*/ 1102 h 1948641"/>
              <a:gd name="connsiteX8" fmla="*/ 1902352 w 5285877"/>
              <a:gd name="connsiteY8" fmla="*/ 2588 h 1948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85877" h="1948641">
                <a:moveTo>
                  <a:pt x="1903757" y="0"/>
                </a:moveTo>
                <a:lnTo>
                  <a:pt x="5256400" y="1819700"/>
                </a:lnTo>
                <a:lnTo>
                  <a:pt x="5285877" y="1919163"/>
                </a:lnTo>
                <a:lnTo>
                  <a:pt x="5186416" y="1948641"/>
                </a:lnTo>
                <a:lnTo>
                  <a:pt x="1868539" y="147811"/>
                </a:lnTo>
                <a:lnTo>
                  <a:pt x="0" y="147811"/>
                </a:lnTo>
                <a:lnTo>
                  <a:pt x="0" y="1102"/>
                </a:lnTo>
                <a:lnTo>
                  <a:pt x="1902352" y="1102"/>
                </a:lnTo>
                <a:lnTo>
                  <a:pt x="1902352" y="2588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25400" algn="ctr">
            <a:noFill/>
            <a:miter lim="800000"/>
            <a:headEnd/>
            <a:tailEnd/>
          </a:ln>
        </p:spPr>
        <p:txBody>
          <a:bodyPr wrap="square" lIns="90000" tIns="72000" rIns="90000" bIns="72000" rtlCol="0" anchor="ctr">
            <a:noAutofit/>
          </a:bodyPr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DE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8149E57A-6038-5A46-8146-13C42C85AF08}"/>
              </a:ext>
            </a:extLst>
          </p:cNvPr>
          <p:cNvSpPr/>
          <p:nvPr/>
        </p:nvSpPr>
        <p:spPr bwMode="gray">
          <a:xfrm>
            <a:off x="4595906" y="3778874"/>
            <a:ext cx="5278790" cy="1948641"/>
          </a:xfrm>
          <a:custGeom>
            <a:avLst/>
            <a:gdLst>
              <a:gd name="connsiteX0" fmla="*/ 5179329 w 5278790"/>
              <a:gd name="connsiteY0" fmla="*/ 0 h 1948641"/>
              <a:gd name="connsiteX1" fmla="*/ 5278790 w 5278790"/>
              <a:gd name="connsiteY1" fmla="*/ 29478 h 1948641"/>
              <a:gd name="connsiteX2" fmla="*/ 5249313 w 5278790"/>
              <a:gd name="connsiteY2" fmla="*/ 128941 h 1948641"/>
              <a:gd name="connsiteX3" fmla="*/ 1902352 w 5278790"/>
              <a:gd name="connsiteY3" fmla="*/ 1945556 h 1948641"/>
              <a:gd name="connsiteX4" fmla="*/ 1902352 w 5278790"/>
              <a:gd name="connsiteY4" fmla="*/ 1946925 h 1948641"/>
              <a:gd name="connsiteX5" fmla="*/ 1899831 w 5278790"/>
              <a:gd name="connsiteY5" fmla="*/ 1946925 h 1948641"/>
              <a:gd name="connsiteX6" fmla="*/ 1896670 w 5278790"/>
              <a:gd name="connsiteY6" fmla="*/ 1948641 h 1948641"/>
              <a:gd name="connsiteX7" fmla="*/ 1895739 w 5278790"/>
              <a:gd name="connsiteY7" fmla="*/ 1946925 h 1948641"/>
              <a:gd name="connsiteX8" fmla="*/ 0 w 5278790"/>
              <a:gd name="connsiteY8" fmla="*/ 1946925 h 1948641"/>
              <a:gd name="connsiteX9" fmla="*/ 0 w 5278790"/>
              <a:gd name="connsiteY9" fmla="*/ 1800216 h 1948641"/>
              <a:gd name="connsiteX10" fmla="*/ 1862583 w 5278790"/>
              <a:gd name="connsiteY10" fmla="*/ 1800216 h 1948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78790" h="1948641">
                <a:moveTo>
                  <a:pt x="5179329" y="0"/>
                </a:moveTo>
                <a:lnTo>
                  <a:pt x="5278790" y="29478"/>
                </a:lnTo>
                <a:lnTo>
                  <a:pt x="5249313" y="128941"/>
                </a:lnTo>
                <a:lnTo>
                  <a:pt x="1902352" y="1945556"/>
                </a:lnTo>
                <a:lnTo>
                  <a:pt x="1902352" y="1946925"/>
                </a:lnTo>
                <a:lnTo>
                  <a:pt x="1899831" y="1946925"/>
                </a:lnTo>
                <a:lnTo>
                  <a:pt x="1896670" y="1948641"/>
                </a:lnTo>
                <a:lnTo>
                  <a:pt x="1895739" y="1946925"/>
                </a:lnTo>
                <a:lnTo>
                  <a:pt x="0" y="1946925"/>
                </a:lnTo>
                <a:lnTo>
                  <a:pt x="0" y="1800216"/>
                </a:lnTo>
                <a:lnTo>
                  <a:pt x="1862583" y="1800216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 w="25400" algn="ctr">
            <a:noFill/>
            <a:miter lim="800000"/>
            <a:headEnd/>
            <a:tailEnd/>
          </a:ln>
        </p:spPr>
        <p:txBody>
          <a:bodyPr wrap="square" lIns="90000" tIns="72000" rIns="90000" bIns="72000" rtlCol="0" anchor="ctr">
            <a:noAutofit/>
          </a:bodyPr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DE" sz="1800" kern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" name="Pentagon 30">
            <a:extLst>
              <a:ext uri="{FF2B5EF4-FFF2-40B4-BE49-F238E27FC236}">
                <a16:creationId xmlns:a16="http://schemas.microsoft.com/office/drawing/2014/main" id="{8B7062DE-E7C7-8F44-8026-155085DFD0EF}"/>
              </a:ext>
            </a:extLst>
          </p:cNvPr>
          <p:cNvSpPr/>
          <p:nvPr/>
        </p:nvSpPr>
        <p:spPr bwMode="gray">
          <a:xfrm>
            <a:off x="6461603" y="3533411"/>
            <a:ext cx="3363465" cy="146709"/>
          </a:xfrm>
          <a:prstGeom prst="homePlate">
            <a:avLst/>
          </a:pr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DE" sz="1800" kern="0" err="1"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06144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5" name="Straight Connector 35">
            <a:extLst>
              <a:ext uri="{FF2B5EF4-FFF2-40B4-BE49-F238E27FC236}">
                <a16:creationId xmlns:a16="http://schemas.microsoft.com/office/drawing/2014/main" id="{0D036C97-149C-4105-9DBD-BDE6BA8E561B}"/>
              </a:ext>
            </a:extLst>
          </p:cNvPr>
          <p:cNvCxnSpPr>
            <a:cxnSpLocks/>
          </p:cNvCxnSpPr>
          <p:nvPr/>
        </p:nvCxnSpPr>
        <p:spPr>
          <a:xfrm flipH="1">
            <a:off x="10171743" y="3840756"/>
            <a:ext cx="693680" cy="0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C14A44D7-FF6E-47E9-BCD0-C94B64E83CD2}"/>
              </a:ext>
            </a:extLst>
          </p:cNvPr>
          <p:cNvSpPr/>
          <p:nvPr/>
        </p:nvSpPr>
        <p:spPr bwMode="gray">
          <a:xfrm>
            <a:off x="2392316" y="1731538"/>
            <a:ext cx="7792278" cy="2891517"/>
          </a:xfrm>
          <a:prstGeom prst="roundRect">
            <a:avLst>
              <a:gd name="adj" fmla="val 2574"/>
            </a:avLst>
          </a:prstGeom>
          <a:solidFill>
            <a:schemeClr val="bg1"/>
          </a:solidFill>
          <a:ln w="12700" algn="ctr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6AC0C9-D4A3-4A6C-B3E6-24AC6D296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646331"/>
          </a:xfrm>
        </p:spPr>
        <p:txBody>
          <a:bodyPr/>
          <a:lstStyle/>
          <a:p>
            <a:r>
              <a:rPr lang="en-US" dirty="0"/>
              <a:t>Introducing SAP Build Process Automation </a:t>
            </a:r>
            <a:br>
              <a:rPr lang="en-US" dirty="0"/>
            </a:br>
            <a:r>
              <a:rPr lang="en-US" sz="1800" b="0" dirty="0">
                <a:solidFill>
                  <a:schemeClr val="accent1"/>
                </a:solidFill>
              </a:rPr>
              <a:t>Capabilities: citizen automation for line-of-business builders</a:t>
            </a:r>
            <a:endParaRPr lang="en-US" b="0" dirty="0">
              <a:solidFill>
                <a:schemeClr val="accent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3F34966-0747-4DB3-97AF-67BA96CB8259}"/>
              </a:ext>
            </a:extLst>
          </p:cNvPr>
          <p:cNvGrpSpPr/>
          <p:nvPr/>
        </p:nvGrpSpPr>
        <p:grpSpPr>
          <a:xfrm>
            <a:off x="2438730" y="3248634"/>
            <a:ext cx="1728358" cy="1063558"/>
            <a:chOff x="5786163" y="5290442"/>
            <a:chExt cx="1467131" cy="106355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F6B24B7-7089-4EA7-9983-C532F7C972B2}"/>
                </a:ext>
              </a:extLst>
            </p:cNvPr>
            <p:cNvSpPr/>
            <p:nvPr/>
          </p:nvSpPr>
          <p:spPr>
            <a:xfrm>
              <a:off x="5786163" y="6046223"/>
              <a:ext cx="146713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Advanced workflow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3C379CF-41EC-4EF0-AF7D-23AE804AA0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67089" y="5290442"/>
              <a:ext cx="1007624" cy="897797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D202105-F57E-4B7E-8B49-BDD5C96EBEDC}"/>
              </a:ext>
            </a:extLst>
          </p:cNvPr>
          <p:cNvGrpSpPr/>
          <p:nvPr/>
        </p:nvGrpSpPr>
        <p:grpSpPr>
          <a:xfrm>
            <a:off x="2861923" y="2065580"/>
            <a:ext cx="881973" cy="976267"/>
            <a:chOff x="2197629" y="4130443"/>
            <a:chExt cx="881973" cy="97626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2930C0B-CE49-4819-A975-3994C1526BCB}"/>
                </a:ext>
              </a:extLst>
            </p:cNvPr>
            <p:cNvSpPr/>
            <p:nvPr/>
          </p:nvSpPr>
          <p:spPr>
            <a:xfrm>
              <a:off x="2197629" y="4798933"/>
              <a:ext cx="88197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Process 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8408222B-4E00-4BE6-9DE0-8394F8663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98065" y="4130443"/>
              <a:ext cx="681101" cy="681101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5EDE085-9BB4-41D2-8410-C17E956F7DAC}"/>
              </a:ext>
            </a:extLst>
          </p:cNvPr>
          <p:cNvGrpSpPr/>
          <p:nvPr/>
        </p:nvGrpSpPr>
        <p:grpSpPr>
          <a:xfrm>
            <a:off x="4683861" y="1972995"/>
            <a:ext cx="811430" cy="1090424"/>
            <a:chOff x="3895775" y="4037858"/>
            <a:chExt cx="811430" cy="1090424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9ECB0FD-CD8C-4D92-A7FC-ED5C5E30BF44}"/>
                </a:ext>
              </a:extLst>
            </p:cNvPr>
            <p:cNvSpPr/>
            <p:nvPr/>
          </p:nvSpPr>
          <p:spPr>
            <a:xfrm>
              <a:off x="3992340" y="4820505"/>
              <a:ext cx="65114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Form </a:t>
              </a: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F49F0D86-011A-488F-85BD-234C353AEEA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95775" y="4037858"/>
              <a:ext cx="811430" cy="81143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335EC87-1026-44A1-B76E-800F0D4D57FB}"/>
              </a:ext>
            </a:extLst>
          </p:cNvPr>
          <p:cNvSpPr/>
          <p:nvPr/>
        </p:nvSpPr>
        <p:spPr>
          <a:xfrm>
            <a:off x="6399094" y="4009245"/>
            <a:ext cx="11801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Automations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D1A129F-5F72-4C94-9DCA-EE5456982ACA}"/>
              </a:ext>
            </a:extLst>
          </p:cNvPr>
          <p:cNvCxnSpPr>
            <a:cxnSpLocks/>
          </p:cNvCxnSpPr>
          <p:nvPr/>
        </p:nvCxnSpPr>
        <p:spPr>
          <a:xfrm>
            <a:off x="4171415" y="2370175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40BA16F-3339-4AFF-A3D2-8EC78584F355}"/>
              </a:ext>
            </a:extLst>
          </p:cNvPr>
          <p:cNvCxnSpPr>
            <a:cxnSpLocks/>
          </p:cNvCxnSpPr>
          <p:nvPr/>
        </p:nvCxnSpPr>
        <p:spPr>
          <a:xfrm>
            <a:off x="6048684" y="2359638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70F65C4-7F2F-4830-890A-7531B730893F}"/>
              </a:ext>
            </a:extLst>
          </p:cNvPr>
          <p:cNvCxnSpPr>
            <a:cxnSpLocks/>
          </p:cNvCxnSpPr>
          <p:nvPr/>
        </p:nvCxnSpPr>
        <p:spPr>
          <a:xfrm>
            <a:off x="8133675" y="2406130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1F820B1-5946-42CA-BD76-46EA7DFCF2E5}"/>
              </a:ext>
            </a:extLst>
          </p:cNvPr>
          <p:cNvCxnSpPr>
            <a:cxnSpLocks/>
          </p:cNvCxnSpPr>
          <p:nvPr/>
        </p:nvCxnSpPr>
        <p:spPr>
          <a:xfrm flipH="1">
            <a:off x="2491707" y="3210926"/>
            <a:ext cx="7551271" cy="0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2A0E4D46-F781-4E97-ADE9-5DF8CBEC0794}"/>
              </a:ext>
            </a:extLst>
          </p:cNvPr>
          <p:cNvSpPr txBox="1"/>
          <p:nvPr/>
        </p:nvSpPr>
        <p:spPr>
          <a:xfrm>
            <a:off x="4655006" y="1588094"/>
            <a:ext cx="3266898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sz="1800" b="1" kern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SAP Process Automation</a:t>
            </a:r>
            <a:endParaRPr lang="en-US" sz="1200" b="1" kern="0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817D36F-C939-499F-AF81-292BB872F682}"/>
              </a:ext>
            </a:extLst>
          </p:cNvPr>
          <p:cNvSpPr txBox="1"/>
          <p:nvPr/>
        </p:nvSpPr>
        <p:spPr>
          <a:xfrm>
            <a:off x="565746" y="2512863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cess manager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cess mining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41D18A2-7665-4694-8A73-37815DFF9DB5}"/>
              </a:ext>
            </a:extLst>
          </p:cNvPr>
          <p:cNvSpPr txBox="1"/>
          <p:nvPr/>
        </p:nvSpPr>
        <p:spPr>
          <a:xfrm>
            <a:off x="544983" y="4013467"/>
            <a:ext cx="1482701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Experience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management</a:t>
            </a: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496D7577-0B65-40C5-9334-181A5CD6FED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8656" y="3461369"/>
            <a:ext cx="615054" cy="615054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B7801E0A-D81A-47F3-8C68-EEB00FD13C61}"/>
              </a:ext>
            </a:extLst>
          </p:cNvPr>
          <p:cNvSpPr txBox="1"/>
          <p:nvPr/>
        </p:nvSpPr>
        <p:spPr>
          <a:xfrm>
            <a:off x="10481104" y="4100292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-code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app dev</a:t>
            </a: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921F70B5-C65B-403E-B737-1D80091FC6A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5423" y="1961260"/>
            <a:ext cx="721521" cy="721521"/>
          </a:xfrm>
          <a:prstGeom prst="rect">
            <a:avLst/>
          </a:prstGeom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836E8136-5FF1-4176-9594-B130F222FE11}"/>
              </a:ext>
            </a:extLst>
          </p:cNvPr>
          <p:cNvSpPr txBox="1"/>
          <p:nvPr/>
        </p:nvSpPr>
        <p:spPr>
          <a:xfrm>
            <a:off x="10478066" y="2641313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Citizen 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app dev</a:t>
            </a:r>
          </a:p>
        </p:txBody>
      </p:sp>
      <p:cxnSp>
        <p:nvCxnSpPr>
          <p:cNvPr id="74" name="Straight Connector 35">
            <a:extLst>
              <a:ext uri="{FF2B5EF4-FFF2-40B4-BE49-F238E27FC236}">
                <a16:creationId xmlns:a16="http://schemas.microsoft.com/office/drawing/2014/main" id="{3A070AD3-7A4D-4E8D-95B9-C7041C5A302E}"/>
              </a:ext>
            </a:extLst>
          </p:cNvPr>
          <p:cNvCxnSpPr>
            <a:cxnSpLocks/>
          </p:cNvCxnSpPr>
          <p:nvPr/>
        </p:nvCxnSpPr>
        <p:spPr>
          <a:xfrm flipH="1">
            <a:off x="1699877" y="2310720"/>
            <a:ext cx="693680" cy="0"/>
          </a:xfrm>
          <a:prstGeom prst="straightConnector1">
            <a:avLst/>
          </a:prstGeom>
          <a:ln w="12700">
            <a:solidFill>
              <a:srgbClr val="E20098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Oval 74">
            <a:extLst>
              <a:ext uri="{FF2B5EF4-FFF2-40B4-BE49-F238E27FC236}">
                <a16:creationId xmlns:a16="http://schemas.microsoft.com/office/drawing/2014/main" id="{E9CC1B57-0FE0-4409-BA6A-821DF4B83877}"/>
              </a:ext>
            </a:extLst>
          </p:cNvPr>
          <p:cNvSpPr/>
          <p:nvPr/>
        </p:nvSpPr>
        <p:spPr bwMode="gray">
          <a:xfrm>
            <a:off x="2347837" y="2268198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E20098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80" name="Straight Connector 35">
            <a:extLst>
              <a:ext uri="{FF2B5EF4-FFF2-40B4-BE49-F238E27FC236}">
                <a16:creationId xmlns:a16="http://schemas.microsoft.com/office/drawing/2014/main" id="{61DE12ED-8202-4F16-9205-03AB83C2C7A2}"/>
              </a:ext>
            </a:extLst>
          </p:cNvPr>
          <p:cNvCxnSpPr>
            <a:cxnSpLocks/>
          </p:cNvCxnSpPr>
          <p:nvPr/>
        </p:nvCxnSpPr>
        <p:spPr>
          <a:xfrm flipH="1">
            <a:off x="1745696" y="3865200"/>
            <a:ext cx="647861" cy="0"/>
          </a:xfrm>
          <a:prstGeom prst="straightConnector1">
            <a:avLst/>
          </a:prstGeom>
          <a:ln w="12700">
            <a:solidFill>
              <a:srgbClr val="E20098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80">
            <a:extLst>
              <a:ext uri="{FF2B5EF4-FFF2-40B4-BE49-F238E27FC236}">
                <a16:creationId xmlns:a16="http://schemas.microsoft.com/office/drawing/2014/main" id="{1E163BED-99EC-47C2-8D76-A9172A3A02A0}"/>
              </a:ext>
            </a:extLst>
          </p:cNvPr>
          <p:cNvSpPr/>
          <p:nvPr/>
        </p:nvSpPr>
        <p:spPr bwMode="gray">
          <a:xfrm>
            <a:off x="2347837" y="3822678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E20098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4AE1AB83-2998-4072-AD6B-DDB5CE25AA7A}"/>
              </a:ext>
            </a:extLst>
          </p:cNvPr>
          <p:cNvSpPr/>
          <p:nvPr/>
        </p:nvSpPr>
        <p:spPr bwMode="gray">
          <a:xfrm>
            <a:off x="10139038" y="3802437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AAFECC34-1590-4B30-9FA1-22DBB9BCA713}"/>
              </a:ext>
            </a:extLst>
          </p:cNvPr>
          <p:cNvSpPr/>
          <p:nvPr/>
        </p:nvSpPr>
        <p:spPr bwMode="gray">
          <a:xfrm>
            <a:off x="10139038" y="2365073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86" name="Straight Connector 35">
            <a:extLst>
              <a:ext uri="{FF2B5EF4-FFF2-40B4-BE49-F238E27FC236}">
                <a16:creationId xmlns:a16="http://schemas.microsoft.com/office/drawing/2014/main" id="{8841C195-FB30-46DB-9656-6A5C034AB9E3}"/>
              </a:ext>
            </a:extLst>
          </p:cNvPr>
          <p:cNvCxnSpPr>
            <a:cxnSpLocks/>
          </p:cNvCxnSpPr>
          <p:nvPr/>
        </p:nvCxnSpPr>
        <p:spPr>
          <a:xfrm flipH="1">
            <a:off x="10230478" y="2404397"/>
            <a:ext cx="519012" cy="3198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DDB8A744-DED5-4B47-A4CA-14A8849F0C0C}"/>
              </a:ext>
            </a:extLst>
          </p:cNvPr>
          <p:cNvSpPr/>
          <p:nvPr/>
        </p:nvSpPr>
        <p:spPr>
          <a:xfrm>
            <a:off x="4386123" y="4009245"/>
            <a:ext cx="14896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/>
              <a:t>Business rules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19CBB288-36BD-0D4F-A150-850E1B3F835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4724681" y="3368689"/>
            <a:ext cx="745803" cy="555949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8F6AB75E-9669-FD45-BE5C-A5903FEF8FF4}"/>
              </a:ext>
            </a:extLst>
          </p:cNvPr>
          <p:cNvSpPr txBox="1"/>
          <p:nvPr/>
        </p:nvSpPr>
        <p:spPr>
          <a:xfrm>
            <a:off x="2392316" y="4861715"/>
            <a:ext cx="8884600" cy="18312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New </a:t>
            </a:r>
            <a:r>
              <a:rPr lang="en-US" sz="1400" b="1"/>
              <a:t>citizen automation user experience </a:t>
            </a:r>
            <a:r>
              <a:rPr lang="en-US" sz="1400"/>
              <a:t>(process builder, forms builder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All </a:t>
            </a:r>
            <a:r>
              <a:rPr lang="en-US" sz="1400" b="1"/>
              <a:t>advanced workflow management </a:t>
            </a:r>
            <a:r>
              <a:rPr lang="en-US" sz="1400"/>
              <a:t>capabilities available (rules, process visibility, process flexibility, AI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Embedded </a:t>
            </a:r>
            <a:r>
              <a:rPr lang="en-US" sz="1400" b="1"/>
              <a:t>RPA capabilities </a:t>
            </a:r>
            <a:r>
              <a:rPr lang="en-US" sz="1400"/>
              <a:t>to readily combine bot automations with workflows 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Content and </a:t>
            </a:r>
            <a:r>
              <a:rPr lang="en-US" sz="1400" b="1"/>
              <a:t>reusable artifacts </a:t>
            </a:r>
            <a:r>
              <a:rPr lang="en-US" sz="1400"/>
              <a:t>(such as bots, workflow components, process steps, actions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 b="1"/>
              <a:t>Unified launchpad and task center </a:t>
            </a:r>
            <a:r>
              <a:rPr lang="en-US" sz="1400"/>
              <a:t>for citizen developer applications and automations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A648E1FD-CD3F-1348-BB88-0119911582B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4163" y="3293028"/>
            <a:ext cx="688799" cy="688799"/>
          </a:xfrm>
          <a:prstGeom prst="rect">
            <a:avLst/>
          </a:prstGeom>
        </p:spPr>
      </p:pic>
      <p:pic>
        <p:nvPicPr>
          <p:cNvPr id="71682" name="Picture 2" descr="SAP to Acquire Business Process Intelligence Company Signavio">
            <a:extLst>
              <a:ext uri="{FF2B5EF4-FFF2-40B4-BE49-F238E27FC236}">
                <a16:creationId xmlns:a16="http://schemas.microsoft.com/office/drawing/2014/main" id="{5478001C-D8BF-5D4E-BEBF-0FA244ED1E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9345" y="2067592"/>
            <a:ext cx="832566" cy="46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4" name="Picture 4" descr="Upgrading the SAP Customer and Operations Lifecycle | Signavio">
            <a:extLst>
              <a:ext uri="{FF2B5EF4-FFF2-40B4-BE49-F238E27FC236}">
                <a16:creationId xmlns:a16="http://schemas.microsoft.com/office/drawing/2014/main" id="{09D8BC66-CEE4-4240-A9B5-8747FD150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1180" y="1908408"/>
            <a:ext cx="651758" cy="323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8" name="Picture 8" descr="qualtrics-press-meta-images-04-1 - ELGL">
            <a:extLst>
              <a:ext uri="{FF2B5EF4-FFF2-40B4-BE49-F238E27FC236}">
                <a16:creationId xmlns:a16="http://schemas.microsoft.com/office/drawing/2014/main" id="{2829BEB8-BBE0-0E49-9462-2AE3F59938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924" y="3638226"/>
            <a:ext cx="948011" cy="383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B868C752-CF13-B044-A0F8-40F8BC12C70C}"/>
              </a:ext>
            </a:extLst>
          </p:cNvPr>
          <p:cNvSpPr/>
          <p:nvPr/>
        </p:nvSpPr>
        <p:spPr>
          <a:xfrm>
            <a:off x="6423561" y="2757139"/>
            <a:ext cx="10903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Intelligenc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7B7848B-4029-DF4E-86E5-47AAC570E52C}"/>
              </a:ext>
            </a:extLst>
          </p:cNvPr>
          <p:cNvSpPr/>
          <p:nvPr/>
        </p:nvSpPr>
        <p:spPr>
          <a:xfrm>
            <a:off x="8427148" y="2775510"/>
            <a:ext cx="113941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Task center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54B49FE-F2CE-CF40-BBD1-054902533361}"/>
              </a:ext>
            </a:extLst>
          </p:cNvPr>
          <p:cNvSpPr/>
          <p:nvPr/>
        </p:nvSpPr>
        <p:spPr>
          <a:xfrm>
            <a:off x="8329301" y="4009245"/>
            <a:ext cx="15279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Process visibility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2FB312-D70A-974C-9C62-3B29F2CA77E8}"/>
              </a:ext>
            </a:extLst>
          </p:cNvPr>
          <p:cNvSpPr/>
          <p:nvPr/>
        </p:nvSpPr>
        <p:spPr>
          <a:xfrm>
            <a:off x="321967" y="2998113"/>
            <a:ext cx="192873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>
                <a:solidFill>
                  <a:schemeClr val="accent3"/>
                </a:solidFill>
              </a:rPr>
              <a:t>Integrated process insights </a:t>
            </a:r>
            <a:br>
              <a:rPr lang="en-US" sz="1100">
                <a:solidFill>
                  <a:schemeClr val="accent3"/>
                </a:solidFill>
              </a:rPr>
            </a:br>
            <a:r>
              <a:rPr lang="en-US" sz="1100">
                <a:solidFill>
                  <a:schemeClr val="accent3"/>
                </a:solidFill>
              </a:rPr>
              <a:t>and customer sentiments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A6DF3641-F3CC-9249-A5AB-7C9D5DFA8DD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353" y="2096495"/>
            <a:ext cx="698400" cy="69840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A9CF9D20-A6DD-9142-A691-16E73F08459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5640" y="1988597"/>
            <a:ext cx="831600" cy="83160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DE73A33D-EFA5-584D-86B8-51A550C33EF2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73453" y="3252366"/>
            <a:ext cx="842400" cy="84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662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B21428D-4612-984E-82A9-6DE90AD1CA8A}"/>
              </a:ext>
            </a:extLst>
          </p:cNvPr>
          <p:cNvSpPr/>
          <p:nvPr/>
        </p:nvSpPr>
        <p:spPr bwMode="gray">
          <a:xfrm>
            <a:off x="914400" y="1904377"/>
            <a:ext cx="2977978" cy="3684149"/>
          </a:xfrm>
          <a:prstGeom prst="rect">
            <a:avLst/>
          </a:prstGeom>
          <a:noFill/>
          <a:ln w="19050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" name="Rechteck 177">
            <a:extLst>
              <a:ext uri="{FF2B5EF4-FFF2-40B4-BE49-F238E27FC236}">
                <a16:creationId xmlns:a16="http://schemas.microsoft.com/office/drawing/2014/main" id="{5AB1D605-08CC-4104-8E19-152C4A5A0171}"/>
              </a:ext>
            </a:extLst>
          </p:cNvPr>
          <p:cNvSpPr/>
          <p:nvPr/>
        </p:nvSpPr>
        <p:spPr bwMode="gray">
          <a:xfrm>
            <a:off x="4968240" y="1904377"/>
            <a:ext cx="6312535" cy="3684148"/>
          </a:xfrm>
          <a:prstGeom prst="roundRect">
            <a:avLst>
              <a:gd name="adj" fmla="val 0"/>
            </a:avLst>
          </a:prstGeom>
          <a:noFill/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3" tIns="71983" rIns="71983" bIns="0" rtlCol="0" anchor="t" anchorCtr="0"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1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54EEDBA-16FB-5C4A-905B-2978DE0B97E6}"/>
              </a:ext>
            </a:extLst>
          </p:cNvPr>
          <p:cNvCxnSpPr/>
          <p:nvPr/>
        </p:nvCxnSpPr>
        <p:spPr>
          <a:xfrm>
            <a:off x="914400" y="1620167"/>
            <a:ext cx="5590613" cy="0"/>
          </a:xfrm>
          <a:prstGeom prst="line">
            <a:avLst/>
          </a:prstGeom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>
            <a:extLst>
              <a:ext uri="{FF2B5EF4-FFF2-40B4-BE49-F238E27FC236}">
                <a16:creationId xmlns:a16="http://schemas.microsoft.com/office/drawing/2014/main" id="{2919522D-B39F-4EBE-8538-FCA4AC5760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Overview</a:t>
            </a:r>
            <a:endParaRPr lang="de-DE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EF566E8-BB74-4AD1-92A2-0DE89B4CFC3B}"/>
              </a:ext>
            </a:extLst>
          </p:cNvPr>
          <p:cNvSpPr/>
          <p:nvPr/>
        </p:nvSpPr>
        <p:spPr>
          <a:xfrm>
            <a:off x="1188467" y="2365368"/>
            <a:ext cx="1419220" cy="484748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Design Studio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Bot building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813C720-BED0-4972-B52E-4C1602E43663}"/>
              </a:ext>
            </a:extLst>
          </p:cNvPr>
          <p:cNvSpPr txBox="1"/>
          <p:nvPr/>
        </p:nvSpPr>
        <p:spPr>
          <a:xfrm>
            <a:off x="5127329" y="2939491"/>
            <a:ext cx="1232144" cy="39241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Desktop Agent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Execution Engine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DEFA4BB-6243-4A76-AB18-29A7E3555A98}"/>
              </a:ext>
            </a:extLst>
          </p:cNvPr>
          <p:cNvSpPr/>
          <p:nvPr/>
        </p:nvSpPr>
        <p:spPr>
          <a:xfrm>
            <a:off x="1154909" y="3575330"/>
            <a:ext cx="1484307" cy="4411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ts val="24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Cloud Factory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ts val="24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Orchestration &amp; monitoring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3C6DD1B-F870-45AA-99F4-2357EDCAA8AF}"/>
              </a:ext>
            </a:extLst>
          </p:cNvPr>
          <p:cNvSpPr/>
          <p:nvPr/>
        </p:nvSpPr>
        <p:spPr>
          <a:xfrm>
            <a:off x="1258420" y="4706868"/>
            <a:ext cx="1277283" cy="62324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Bot Store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Pre-packaged content store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ADDF8A1C-3058-4AF9-822E-53A33602797F}"/>
              </a:ext>
            </a:extLst>
          </p:cNvPr>
          <p:cNvSpPr/>
          <p:nvPr/>
        </p:nvSpPr>
        <p:spPr>
          <a:xfrm>
            <a:off x="5986968" y="3772389"/>
            <a:ext cx="901601" cy="239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Desktops</a:t>
            </a: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46B6AC68-1765-456F-9BCD-BB3B7BC5D599}"/>
              </a:ext>
            </a:extLst>
          </p:cNvPr>
          <p:cNvSpPr/>
          <p:nvPr/>
        </p:nvSpPr>
        <p:spPr>
          <a:xfrm>
            <a:off x="6115151" y="3254937"/>
            <a:ext cx="69466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VMs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CD60B9DF-967A-47CA-8BD0-D7E09BB3EDD5}"/>
              </a:ext>
            </a:extLst>
          </p:cNvPr>
          <p:cNvGrpSpPr/>
          <p:nvPr/>
        </p:nvGrpSpPr>
        <p:grpSpPr>
          <a:xfrm>
            <a:off x="6294320" y="4021109"/>
            <a:ext cx="286899" cy="209242"/>
            <a:chOff x="5147877" y="5453128"/>
            <a:chExt cx="502213" cy="366276"/>
          </a:xfrm>
        </p:grpSpPr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F5A0A84C-0920-46F2-B083-CAA176DC4F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26546" y="5453128"/>
              <a:ext cx="423544" cy="307116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1D461C6E-7DDF-478F-95F5-9BFB5B272A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87212" y="5482708"/>
              <a:ext cx="423544" cy="307116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8" name="Picture 97">
              <a:extLst>
                <a:ext uri="{FF2B5EF4-FFF2-40B4-BE49-F238E27FC236}">
                  <a16:creationId xmlns:a16="http://schemas.microsoft.com/office/drawing/2014/main" id="{5DE46516-7D8F-491B-BA59-EA4C1861C1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47877" y="5512288"/>
              <a:ext cx="423544" cy="307116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B8C8E261-6A59-41BB-9939-AE0A35C91297}"/>
              </a:ext>
            </a:extLst>
          </p:cNvPr>
          <p:cNvGrpSpPr/>
          <p:nvPr/>
        </p:nvGrpSpPr>
        <p:grpSpPr>
          <a:xfrm>
            <a:off x="6305628" y="3516018"/>
            <a:ext cx="292638" cy="208181"/>
            <a:chOff x="4936404" y="5350668"/>
            <a:chExt cx="320140" cy="227746"/>
          </a:xfrm>
        </p:grpSpPr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F1D869BB-7E3E-4426-A595-8CD4A83E18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1028" t="-140" r="-21028" b="-140"/>
            <a:stretch/>
          </p:blipFill>
          <p:spPr>
            <a:xfrm>
              <a:off x="4986259" y="5350668"/>
              <a:ext cx="270285" cy="1908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77FDA336-8896-4B8B-B398-4A4FED3B9C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1028" t="-140" r="-21028" b="-140"/>
            <a:stretch/>
          </p:blipFill>
          <p:spPr>
            <a:xfrm>
              <a:off x="4961332" y="5369141"/>
              <a:ext cx="270285" cy="1908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BB3D6706-E7B2-4485-BB9F-A2B50107A4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1028" t="-140" r="-21028" b="-140"/>
            <a:stretch/>
          </p:blipFill>
          <p:spPr>
            <a:xfrm>
              <a:off x="4936404" y="5387614"/>
              <a:ext cx="270285" cy="1908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</p:grpSp>
      <p:sp>
        <p:nvSpPr>
          <p:cNvPr id="127" name="Rectangle 126">
            <a:extLst>
              <a:ext uri="{FF2B5EF4-FFF2-40B4-BE49-F238E27FC236}">
                <a16:creationId xmlns:a16="http://schemas.microsoft.com/office/drawing/2014/main" id="{3843108B-9D93-4B83-9B57-41507D9BE26E}"/>
              </a:ext>
            </a:extLst>
          </p:cNvPr>
          <p:cNvSpPr/>
          <p:nvPr/>
        </p:nvSpPr>
        <p:spPr>
          <a:xfrm>
            <a:off x="2523004" y="1410751"/>
            <a:ext cx="2364750" cy="36933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0AB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AP Intelligent RPA</a:t>
            </a:r>
          </a:p>
        </p:txBody>
      </p:sp>
      <p:pic>
        <p:nvPicPr>
          <p:cNvPr id="44" name="Image 1">
            <a:extLst>
              <a:ext uri="{FF2B5EF4-FFF2-40B4-BE49-F238E27FC236}">
                <a16:creationId xmlns:a16="http://schemas.microsoft.com/office/drawing/2014/main" id="{CFC1CB7F-C84D-B346-BA42-AC59AB469A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50147" y="3387535"/>
            <a:ext cx="647247" cy="735508"/>
          </a:xfrm>
          <a:prstGeom prst="rect">
            <a:avLst/>
          </a:prstGeom>
        </p:spPr>
      </p:pic>
      <p:pic>
        <p:nvPicPr>
          <p:cNvPr id="45" name="Image 6">
            <a:extLst>
              <a:ext uri="{FF2B5EF4-FFF2-40B4-BE49-F238E27FC236}">
                <a16:creationId xmlns:a16="http://schemas.microsoft.com/office/drawing/2014/main" id="{C0C72E14-10A1-194A-BE65-523EE63FC9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31171" y="3386077"/>
            <a:ext cx="647247" cy="735508"/>
          </a:xfrm>
          <a:prstGeom prst="rect">
            <a:avLst/>
          </a:prstGeom>
        </p:spPr>
      </p:pic>
      <p:pic>
        <p:nvPicPr>
          <p:cNvPr id="46" name="Image 7">
            <a:extLst>
              <a:ext uri="{FF2B5EF4-FFF2-40B4-BE49-F238E27FC236}">
                <a16:creationId xmlns:a16="http://schemas.microsoft.com/office/drawing/2014/main" id="{B8951335-6B8C-504C-9206-210A49880E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50148" y="2180462"/>
            <a:ext cx="647247" cy="735508"/>
          </a:xfrm>
          <a:prstGeom prst="rect">
            <a:avLst/>
          </a:prstGeom>
        </p:spPr>
      </p:pic>
      <p:pic>
        <p:nvPicPr>
          <p:cNvPr id="47" name="Image 8">
            <a:extLst>
              <a:ext uri="{FF2B5EF4-FFF2-40B4-BE49-F238E27FC236}">
                <a16:creationId xmlns:a16="http://schemas.microsoft.com/office/drawing/2014/main" id="{BE358B92-3C40-7F46-BEAD-D134485C24D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50147" y="4594608"/>
            <a:ext cx="647247" cy="735508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F10BFF8E-1771-3E44-BB20-8EC28006CA01}"/>
              </a:ext>
            </a:extLst>
          </p:cNvPr>
          <p:cNvSpPr txBox="1"/>
          <p:nvPr/>
        </p:nvSpPr>
        <p:spPr>
          <a:xfrm>
            <a:off x="914400" y="5619656"/>
            <a:ext cx="297797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200" b="1" i="0" u="none" strike="noStrike" kern="0" cap="none" spc="0" normalizeH="0" baseline="0" noProof="0">
                <a:ln>
                  <a:noFill/>
                </a:ln>
                <a:solidFill>
                  <a:srgbClr val="008FD3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SAP Business Technology Platform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8FD3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 (Cloud)</a:t>
            </a:r>
            <a:endParaRPr kumimoji="0" lang="en-DE" sz="1200" b="1" i="0" u="none" strike="noStrike" kern="0" cap="none" spc="0" normalizeH="0" baseline="0" noProof="0">
              <a:ln>
                <a:noFill/>
              </a:ln>
              <a:solidFill>
                <a:srgbClr val="008FD3">
                  <a:lumMod val="7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F80410F-74D1-7F46-8CDB-1E6EEE6E480A}"/>
              </a:ext>
            </a:extLst>
          </p:cNvPr>
          <p:cNvSpPr txBox="1"/>
          <p:nvPr/>
        </p:nvSpPr>
        <p:spPr>
          <a:xfrm>
            <a:off x="7195315" y="5619656"/>
            <a:ext cx="148277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 sz="1200" b="1" kern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defRPr>
            </a:lvl1pPr>
          </a:lstStyle>
          <a:p>
            <a:pPr marL="0" marR="0" lvl="0" indent="0" algn="ct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200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Customer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Environment</a:t>
            </a:r>
            <a:endParaRPr kumimoji="0" lang="en-DE" sz="1200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F1F3FD-7741-1C44-BFE7-16ED0381C338}"/>
              </a:ext>
            </a:extLst>
          </p:cNvPr>
          <p:cNvSpPr txBox="1"/>
          <p:nvPr/>
        </p:nvSpPr>
        <p:spPr>
          <a:xfrm>
            <a:off x="7215932" y="2375913"/>
            <a:ext cx="392059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Process Automation via UIs and APIs</a:t>
            </a:r>
            <a:endParaRPr kumimoji="0" lang="en-DE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8A27574-FEB5-3B4E-BC21-0222D72EE431}"/>
              </a:ext>
            </a:extLst>
          </p:cNvPr>
          <p:cNvSpPr txBox="1"/>
          <p:nvPr/>
        </p:nvSpPr>
        <p:spPr>
          <a:xfrm>
            <a:off x="9416676" y="2709819"/>
            <a:ext cx="2028191" cy="1492716"/>
          </a:xfrm>
          <a:prstGeom prst="rect">
            <a:avLst/>
          </a:prstGeom>
          <a:noFill/>
          <a:ln w="63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-party tool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acy application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b application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net portal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ice apps</a:t>
            </a:r>
          </a:p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5157E"/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EAEA8F3-F578-6449-AA54-672D894CC727}"/>
              </a:ext>
            </a:extLst>
          </p:cNvPr>
          <p:cNvSpPr txBox="1"/>
          <p:nvPr/>
        </p:nvSpPr>
        <p:spPr>
          <a:xfrm>
            <a:off x="7215932" y="2709819"/>
            <a:ext cx="2355451" cy="2539157"/>
          </a:xfrm>
          <a:prstGeom prst="rect">
            <a:avLst/>
          </a:prstGeom>
          <a:noFill/>
          <a:ln w="63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S/4HANA* </a:t>
            </a: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ECC*</a:t>
            </a: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Business ByDesign*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SuccessFactors**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Ariba**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P C/4HANA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Concur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Fieldglas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Business On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lligent Technologie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4" name="Arrow: Chevron 75">
            <a:extLst>
              <a:ext uri="{FF2B5EF4-FFF2-40B4-BE49-F238E27FC236}">
                <a16:creationId xmlns:a16="http://schemas.microsoft.com/office/drawing/2014/main" id="{B72B9583-EB28-9C4F-AEEE-1A5831126636}"/>
              </a:ext>
            </a:extLst>
          </p:cNvPr>
          <p:cNvSpPr/>
          <p:nvPr/>
        </p:nvSpPr>
        <p:spPr bwMode="gray">
          <a:xfrm>
            <a:off x="6819818" y="3369960"/>
            <a:ext cx="127467" cy="835444"/>
          </a:xfrm>
          <a:prstGeom prst="chevron">
            <a:avLst>
              <a:gd name="adj" fmla="val 59412"/>
            </a:avLst>
          </a:prstGeom>
          <a:solidFill>
            <a:schemeClr val="accent2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75A1DC3-EBFE-AB44-BE3A-14E3A51CBC4E}"/>
              </a:ext>
            </a:extLst>
          </p:cNvPr>
          <p:cNvCxnSpPr>
            <a:cxnSpLocks/>
          </p:cNvCxnSpPr>
          <p:nvPr/>
        </p:nvCxnSpPr>
        <p:spPr>
          <a:xfrm>
            <a:off x="3536011" y="3813721"/>
            <a:ext cx="1794821" cy="0"/>
          </a:xfrm>
          <a:prstGeom prst="line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60">
            <a:extLst>
              <a:ext uri="{FF2B5EF4-FFF2-40B4-BE49-F238E27FC236}">
                <a16:creationId xmlns:a16="http://schemas.microsoft.com/office/drawing/2014/main" id="{FC982089-72E0-C94B-9E8E-D03E5C3DC3B6}"/>
              </a:ext>
            </a:extLst>
          </p:cNvPr>
          <p:cNvCxnSpPr>
            <a:cxnSpLocks/>
          </p:cNvCxnSpPr>
          <p:nvPr/>
        </p:nvCxnSpPr>
        <p:spPr>
          <a:xfrm flipV="1">
            <a:off x="4433422" y="1897860"/>
            <a:ext cx="0" cy="3565680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Abgerundetes Rechteck 24">
            <a:extLst>
              <a:ext uri="{FF2B5EF4-FFF2-40B4-BE49-F238E27FC236}">
                <a16:creationId xmlns:a16="http://schemas.microsoft.com/office/drawing/2014/main" id="{9CE735E2-170A-1A4C-BD38-ABC61833C831}"/>
              </a:ext>
            </a:extLst>
          </p:cNvPr>
          <p:cNvSpPr/>
          <p:nvPr/>
        </p:nvSpPr>
        <p:spPr>
          <a:xfrm>
            <a:off x="3891483" y="3723498"/>
            <a:ext cx="1075131" cy="182544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1" tIns="35991" rIns="35991" bIns="35991" rtlCol="0" anchor="ctr"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BentonSans Book " charset="0"/>
                <a:cs typeface="BentonSans Book " charset="0"/>
              </a:rPr>
              <a:t>Secure tunnel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7FF25E4-E24B-7C48-AD02-E901E4713D64}"/>
              </a:ext>
            </a:extLst>
          </p:cNvPr>
          <p:cNvSpPr/>
          <p:nvPr/>
        </p:nvSpPr>
        <p:spPr>
          <a:xfrm>
            <a:off x="3943787" y="5440402"/>
            <a:ext cx="982055" cy="24196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1" tIns="35991" rIns="35991" bIns="35991" rtlCol="0" anchor="ctr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ewal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907CDD-DBFF-4E4B-8638-55D2E8CBDB10}"/>
              </a:ext>
            </a:extLst>
          </p:cNvPr>
          <p:cNvSpPr txBox="1"/>
          <p:nvPr/>
        </p:nvSpPr>
        <p:spPr>
          <a:xfrm>
            <a:off x="9891002" y="5948082"/>
            <a:ext cx="1335302" cy="26930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*  prebuilt content available</a:t>
            </a: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** prebuilt content in the roadmap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3D679FA-6D58-4AC5-8EE9-0122A83915BF}"/>
              </a:ext>
            </a:extLst>
          </p:cNvPr>
          <p:cNvCxnSpPr>
            <a:cxnSpLocks/>
          </p:cNvCxnSpPr>
          <p:nvPr/>
        </p:nvCxnSpPr>
        <p:spPr>
          <a:xfrm>
            <a:off x="914400" y="3127416"/>
            <a:ext cx="2969617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97211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474B3A3F-F810-464C-8383-43230FE2E77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8320" y="3833172"/>
            <a:ext cx="4281050" cy="236349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ECFAC75-6B97-4740-8145-F06013F46A3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5306" y="3847079"/>
            <a:ext cx="4266592" cy="234958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4E512E-AC33-2B48-9EDB-F27AE51CCE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Citizen </a:t>
            </a:r>
            <a:r>
              <a:rPr lang="en-US" dirty="0"/>
              <a:t>d</a:t>
            </a:r>
            <a:r>
              <a:rPr lang="en-DE" dirty="0"/>
              <a:t>eveloper </a:t>
            </a:r>
            <a:r>
              <a:rPr lang="en-US" dirty="0"/>
              <a:t>w</a:t>
            </a:r>
            <a:r>
              <a:rPr lang="en-DE" dirty="0"/>
              <a:t>orkflow and </a:t>
            </a:r>
            <a:r>
              <a:rPr lang="en-US" dirty="0"/>
              <a:t>a</a:t>
            </a:r>
            <a:r>
              <a:rPr lang="en-DE" dirty="0"/>
              <a:t>utomation </a:t>
            </a:r>
            <a:r>
              <a:rPr lang="en-GB" dirty="0"/>
              <a:t>in ONE product experience</a:t>
            </a:r>
            <a:endParaRPr lang="en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3ED941-ECEF-C04A-B7E7-79C6C9E7986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5306" y="1237548"/>
            <a:ext cx="4226880" cy="232771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A10A003-BB29-6940-9605-EDAA859A550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5925" y="1224317"/>
            <a:ext cx="4255860" cy="23541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4880C17-7414-B645-8CF5-F1B07653A01E}"/>
              </a:ext>
            </a:extLst>
          </p:cNvPr>
          <p:cNvSpPr/>
          <p:nvPr/>
        </p:nvSpPr>
        <p:spPr bwMode="gray">
          <a:xfrm>
            <a:off x="1595925" y="3294742"/>
            <a:ext cx="4255860" cy="299553"/>
          </a:xfrm>
          <a:prstGeom prst="rect">
            <a:avLst/>
          </a:prstGeom>
          <a:solidFill>
            <a:schemeClr val="accent3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Lobby</a:t>
            </a:r>
            <a:endParaRPr kumimoji="0" lang="en-DE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46A259C-3C1E-AF49-AA9E-C80E0DED5EFA}"/>
              </a:ext>
            </a:extLst>
          </p:cNvPr>
          <p:cNvSpPr/>
          <p:nvPr/>
        </p:nvSpPr>
        <p:spPr bwMode="gray">
          <a:xfrm>
            <a:off x="6085306" y="3273698"/>
            <a:ext cx="4255860" cy="299553"/>
          </a:xfrm>
          <a:prstGeom prst="rect">
            <a:avLst/>
          </a:prstGeom>
          <a:solidFill>
            <a:schemeClr val="accent3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roject</a:t>
            </a:r>
            <a:endParaRPr kumimoji="0" lang="en-DE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21A671C-6895-E945-835C-561AF3A8DFFC}"/>
              </a:ext>
            </a:extLst>
          </p:cNvPr>
          <p:cNvSpPr/>
          <p:nvPr/>
        </p:nvSpPr>
        <p:spPr bwMode="gray">
          <a:xfrm>
            <a:off x="1588320" y="5908007"/>
            <a:ext cx="4281050" cy="299553"/>
          </a:xfrm>
          <a:prstGeom prst="rect">
            <a:avLst/>
          </a:prstGeom>
          <a:solidFill>
            <a:schemeClr val="accent3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rocess</a:t>
            </a:r>
            <a:endParaRPr kumimoji="0" lang="en-DE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0547F1-34F3-BE46-B826-6D6E256E44E0}"/>
              </a:ext>
            </a:extLst>
          </p:cNvPr>
          <p:cNvSpPr/>
          <p:nvPr/>
        </p:nvSpPr>
        <p:spPr bwMode="gray">
          <a:xfrm>
            <a:off x="6085305" y="5908006"/>
            <a:ext cx="4281049" cy="299553"/>
          </a:xfrm>
          <a:prstGeom prst="rect">
            <a:avLst/>
          </a:prstGeom>
          <a:solidFill>
            <a:schemeClr val="accent3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rocess with intelligent Automation</a:t>
            </a:r>
            <a:endParaRPr kumimoji="0" lang="en-DE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756232D-D64B-4140-9A80-3EFAD008E9AA}"/>
              </a:ext>
            </a:extLst>
          </p:cNvPr>
          <p:cNvSpPr txBox="1"/>
          <p:nvPr/>
        </p:nvSpPr>
        <p:spPr>
          <a:xfrm>
            <a:off x="10528780" y="4480104"/>
            <a:ext cx="1287212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Embedded AI capabilities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with immersive modeling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experience to add intelligent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automations into process</a:t>
            </a:r>
          </a:p>
        </p:txBody>
      </p:sp>
      <p:cxnSp>
        <p:nvCxnSpPr>
          <p:cNvPr id="26" name="Elbow Connector 25">
            <a:extLst>
              <a:ext uri="{FF2B5EF4-FFF2-40B4-BE49-F238E27FC236}">
                <a16:creationId xmlns:a16="http://schemas.microsoft.com/office/drawing/2014/main" id="{D12D4089-FEDF-6040-AEFF-3B812E6818AF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447461" y="4535952"/>
            <a:ext cx="1427519" cy="554844"/>
          </a:xfrm>
          <a:prstGeom prst="bentConnector3">
            <a:avLst>
              <a:gd name="adj1" fmla="val -443"/>
            </a:avLst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B69EB9CC-6C83-0744-920C-64BA13A08CEE}"/>
              </a:ext>
            </a:extLst>
          </p:cNvPr>
          <p:cNvSpPr txBox="1"/>
          <p:nvPr/>
        </p:nvSpPr>
        <p:spPr>
          <a:xfrm>
            <a:off x="300699" y="4371563"/>
            <a:ext cx="1195840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One Process Builder 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combining Workflow steps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with Automations in a 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imple intuitive language</a:t>
            </a:r>
          </a:p>
        </p:txBody>
      </p:sp>
      <p:cxnSp>
        <p:nvCxnSpPr>
          <p:cNvPr id="35" name="Elbow Connector 34">
            <a:extLst>
              <a:ext uri="{FF2B5EF4-FFF2-40B4-BE49-F238E27FC236}">
                <a16:creationId xmlns:a16="http://schemas.microsoft.com/office/drawing/2014/main" id="{F63F033F-868D-F740-8D33-D0D452B0ACFC}"/>
              </a:ext>
            </a:extLst>
          </p:cNvPr>
          <p:cNvCxnSpPr>
            <a:cxnSpLocks/>
          </p:cNvCxnSpPr>
          <p:nvPr/>
        </p:nvCxnSpPr>
        <p:spPr>
          <a:xfrm>
            <a:off x="176470" y="4371563"/>
            <a:ext cx="1323362" cy="643357"/>
          </a:xfrm>
          <a:prstGeom prst="bentConnector3">
            <a:avLst>
              <a:gd name="adj1" fmla="val -151"/>
            </a:avLst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75A8BF7-C87E-0244-ABEB-178355DB532A}"/>
              </a:ext>
            </a:extLst>
          </p:cNvPr>
          <p:cNvGrpSpPr/>
          <p:nvPr/>
        </p:nvGrpSpPr>
        <p:grpSpPr>
          <a:xfrm>
            <a:off x="184075" y="1971264"/>
            <a:ext cx="1323362" cy="430143"/>
            <a:chOff x="61544" y="1971264"/>
            <a:chExt cx="1323362" cy="430143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D236B5E-98E4-B44B-A4A1-2E6AA4ACE45C}"/>
                </a:ext>
              </a:extLst>
            </p:cNvPr>
            <p:cNvSpPr txBox="1"/>
            <p:nvPr/>
          </p:nvSpPr>
          <p:spPr>
            <a:xfrm>
              <a:off x="164437" y="1971264"/>
              <a:ext cx="1141338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088776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FontTx/>
                <a:buNone/>
                <a:tabLst/>
                <a:defRPr/>
              </a:pPr>
              <a: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One Lobby across</a:t>
              </a:r>
              <a:b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</a:br>
              <a: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Process Automation &amp;</a:t>
              </a:r>
              <a:b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</a:br>
              <a:r>
                <a:rPr kumimoji="0" lang="en-DE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Application Development</a:t>
              </a:r>
            </a:p>
          </p:txBody>
        </p:sp>
        <p:cxnSp>
          <p:nvCxnSpPr>
            <p:cNvPr id="38" name="Elbow Connector 37">
              <a:extLst>
                <a:ext uri="{FF2B5EF4-FFF2-40B4-BE49-F238E27FC236}">
                  <a16:creationId xmlns:a16="http://schemas.microsoft.com/office/drawing/2014/main" id="{AD2032B9-884E-ED4A-8B69-92CE61FD8CED}"/>
                </a:ext>
              </a:extLst>
            </p:cNvPr>
            <p:cNvCxnSpPr>
              <a:cxnSpLocks/>
            </p:cNvCxnSpPr>
            <p:nvPr/>
          </p:nvCxnSpPr>
          <p:spPr>
            <a:xfrm>
              <a:off x="61544" y="1987062"/>
              <a:ext cx="1323362" cy="414345"/>
            </a:xfrm>
            <a:prstGeom prst="bentConnector3">
              <a:avLst>
                <a:gd name="adj1" fmla="val -494"/>
              </a:avLst>
            </a:prstGeom>
            <a:ln w="12700"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1A9FF588-94FD-6F4D-B20F-9AC5E2C2E21E}"/>
              </a:ext>
            </a:extLst>
          </p:cNvPr>
          <p:cNvSpPr txBox="1"/>
          <p:nvPr/>
        </p:nvSpPr>
        <p:spPr>
          <a:xfrm>
            <a:off x="10597360" y="2022654"/>
            <a:ext cx="1219886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One Process Project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with a simple life cycle and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 fast time to value across </a:t>
            </a:r>
            <a:b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D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all artifacts</a:t>
            </a:r>
          </a:p>
        </p:txBody>
      </p:sp>
      <p:cxnSp>
        <p:nvCxnSpPr>
          <p:cNvPr id="51" name="Elbow Connector 50">
            <a:extLst>
              <a:ext uri="{FF2B5EF4-FFF2-40B4-BE49-F238E27FC236}">
                <a16:creationId xmlns:a16="http://schemas.microsoft.com/office/drawing/2014/main" id="{C1F908FB-061B-314F-87F0-9367D0189BCD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447461" y="2021352"/>
            <a:ext cx="1427519" cy="554844"/>
          </a:xfrm>
          <a:prstGeom prst="bentConnector3">
            <a:avLst>
              <a:gd name="adj1" fmla="val -443"/>
            </a:avLst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33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644F3B-2A41-5542-AFD4-FC75F7DC3C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94995" y="1502859"/>
            <a:ext cx="5494722" cy="4714772"/>
          </a:xfrm>
        </p:spPr>
        <p:txBody>
          <a:bodyPr>
            <a:normAutofit/>
          </a:bodyPr>
          <a:lstStyle/>
          <a:p>
            <a:r>
              <a:rPr lang="en-US" sz="1600" b="1" dirty="0"/>
              <a:t>Key Feature: 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1600" dirty="0"/>
              <a:t>Smart Update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1600" dirty="0"/>
              <a:t>Simplified first download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1600" dirty="0"/>
              <a:t>Faster project switching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1600" dirty="0"/>
              <a:t>Modern Technology and Architecture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1600" dirty="0"/>
              <a:t>Easy UI for Version Management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1600" dirty="0"/>
              <a:t>RDP Manager</a:t>
            </a:r>
          </a:p>
        </p:txBody>
      </p:sp>
      <p:sp>
        <p:nvSpPr>
          <p:cNvPr id="24" name="Title"/>
          <p:cNvSpPr>
            <a:spLocks noGrp="1"/>
          </p:cNvSpPr>
          <p:nvPr>
            <p:ph type="title"/>
          </p:nvPr>
        </p:nvSpPr>
        <p:spPr bwMode="gray"/>
        <p:txBody>
          <a:bodyPr>
            <a:normAutofit/>
          </a:bodyPr>
          <a:lstStyle/>
          <a:p>
            <a:r>
              <a:rPr lang="en-US" dirty="0"/>
              <a:t>Agent 3 </a:t>
            </a:r>
            <a:r>
              <a:rPr lang="en-US" dirty="0">
                <a:solidFill>
                  <a:srgbClr val="FF0000"/>
                </a:solidFill>
              </a:rPr>
              <a:t>New!!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4D97EB9-5566-4F9C-818D-B4586912BE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458" y="1502859"/>
            <a:ext cx="5294521" cy="3675693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2746364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6FFB8CFC-77C2-CAEB-A038-1206E27D72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15343" b="42459"/>
          <a:stretch/>
        </p:blipFill>
        <p:spPr>
          <a:xfrm>
            <a:off x="1" y="3427200"/>
            <a:ext cx="12195175" cy="34308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EC46871-C60A-0B74-6C0B-9FC12D31CE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xtend SAP S/4HANA Cloud Pre-built Content with Workflow </a:t>
            </a:r>
            <a:br>
              <a:rPr lang="en-US" dirty="0"/>
            </a:b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3903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TOC TOCShowsSubsections Dividers 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heme/theme1.xml><?xml version="1.0" encoding="utf-8"?>
<a:theme xmlns:a="http://schemas.openxmlformats.org/drawingml/2006/main" name="SAP 2022 16x9 white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6" id="{6EE3CE7A-E618-354C-A911-C8B540FBF846}" vid="{D6A1CD9D-FAE1-404C-ADBB-39144CF68697}"/>
    </a:ext>
  </a:extLst>
</a:theme>
</file>

<file path=ppt/theme/theme2.xml><?xml version="1.0" encoding="utf-8"?>
<a:theme xmlns:a="http://schemas.openxmlformats.org/drawingml/2006/main" name="1_SAP 2022 16x9 black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3" id="{98983C72-2C42-1B4B-ADCB-83524493A2CE}" vid="{01356D30-0C5C-804E-8623-53D30802886F}"/>
    </a:ext>
  </a:extLst>
</a:theme>
</file>

<file path=ppt/theme/theme3.xml><?xml version="1.0" encoding="utf-8"?>
<a:theme xmlns:a="http://schemas.openxmlformats.org/drawingml/2006/main" name="SAP 2022 16x9 blue">
  <a:themeElements>
    <a:clrScheme name="SAP_Colors2018 - blue">
      <a:dk1>
        <a:srgbClr val="00195A"/>
      </a:dk1>
      <a:lt1>
        <a:srgbClr val="FFFFFF"/>
      </a:lt1>
      <a:dk2>
        <a:srgbClr val="CCCCCC"/>
      </a:dk2>
      <a:lt2>
        <a:srgbClr val="999999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0076CB"/>
      </a:hlink>
      <a:folHlink>
        <a:srgbClr val="0076CB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rot="0" spcFirstLastPara="0" vertOverflow="overflow" horzOverflow="overflow" vert="horz" wrap="square" lIns="90000" tIns="72000" rIns="90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P_2021_16x9_black_and_white" id="{216A5BC3-3210-D145-B37A-A20539300A3E}" vid="{B1CCA417-3311-6E47-9308-B7B054F4E377}"/>
    </a:ext>
  </a:extLst>
</a:theme>
</file>

<file path=ppt/theme/theme4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1,"isValidatorEnabled":false,"isLocked":false,"elementsMetadata":[],"slideId":"637546847219967368","enableDocumentContentUpdater":false,"version":"2.0"}]]></TemplafySlideTemplateConfiguration>
</file>

<file path=customXml/item10.xml><?xml version="1.0" encoding="utf-8"?>
<TemplafyTemplateConfiguration><![CDATA[{"elementsMetadata":[{"elementConfiguration":{"binding":"{{ DataSources.Classification[Form.Classification.Name].Display}}","disableUpdates":false,"type":"text"},"type":"shape","id":"3fb88df3-eaa2-4d6d-adef-56a3d48829d6"},{"elementConfiguration":{"binding":"{{DataSources.Classification[Form.Classification.Name].Display}}","disableUpdates":false,"type":"text"},"type":"shape","id":"426829f3-a068-40dd-990f-0d6c65b91b0a"},{"elementConfiguration":{"binding":"{{ DataSources.Classification[Form.Classification.Name].Display}}","disableUpdates":false,"type":"text"},"type":"shape","id":"a3036962-ab0a-4906-9dc7-289e0866334f"},{"elementConfiguration":{"image":"{{Form.SAPLogo.LogoWhite}}","disableUpdates":false,"type":"image"},"type":"shape","id":"ae45ed68-1fba-481a-9e2e-8199ba46a6fa"},{"elementConfiguration":{"image":"{{Form.SAPLogo.SubbrandWhite}}","visibility":"{{IfElse(Equals(Form.SAPLogo.HideSubBrandShape, \"Yes\"), VisibilityType.Hidden, VisibilityType.Visible)}}","disableUpdates":false,"type":"image"},"type":"shape","id":"804b0718-9d30-40d9-b880-804c2c6a8f91"},{"elementConfiguration":{"image":"{{Form.SAPLogo.LogoWhite}}","disableUpdates":false,"type":"image"},"type":"shape","id":"c0ff24a6-f1b8-4855-acc4-f1f8bbca6a19"},{"elementConfiguration":{"image":"{{Form.SAPLogo.SubbrandWhite}}","visibility":"{{IfElse(Equals(Form.SAPLogo.HideSubBrandShape, \"Yes\"), VisibilityType.Hidden, VisibilityType.Visible)}}","disableUpdates":false,"type":"image"},"type":"shape","id":"df6636db-4fa9-4cc3-8130-7d8480cc7843"},{"elementConfiguration":{"binding":"{{DataSources.Classification[Form.Classification.Name].Display}}","disableUpdates":false,"type":"text"},"type":"shape","id":"da9efa7b-f1b2-4722-a2c6-09845d195021"},{"elementConfiguration":{"image":"{{Form.SAPLogo.LogoWhite}}","disableUpdates":false,"type":"image"},"type":"shape","id":"402c8ce8-a81b-4048-8a0c-cee33fc6797f"},{"elementConfiguration":{"binding":"{{DataSources.Classification[Form.Classification.Name].Display}}","disableUpdates":false,"type":"text"},"type":"shape","id":"6629b764-d54b-4b26-b57c-ab43c5653963"},{"elementConfiguration":{"image":"{{Form.SAPLogo.SubbrandWhite}}","visibility":"{{IfElse(Equals(Form.SAPLogo.HideSubBrandShape, \"Yes\"), VisibilityType.Hidden, VisibilityType.Visible)}}","disableUpdates":false,"type":"image"},"type":"shape","id":"39d55afe-04d6-4233-bda9-8cfb0d3f696f"},{"elementConfiguration":{"image":"{{Form.SAPLogo.LogoWhite}}","disableUpdates":false,"type":"image"},"type":"shape","id":"03c2cf17-0e91-4b98-9cd7-780b9713135f"},{"elementConfiguration":{"image":"{{Form.SAPLogo.SubbrandWhite}}","visibility":"{{IfElse(Equals(Form.SAPLogo.HideSubBrandShape, \"Yes\"), VisibilityType.Hidden, VisibilityType.Visible)}}","disableUpdates":false,"type":"image"},"type":"shape","id":"7a4a5237-4ac1-4ba5-87f6-3a6f6ea346ef"},{"elementConfiguration":{"binding":"{{DataSources.Classification[Form.Classification.Name].Display}}","disableUpdates":false,"type":"text"},"type":"shape","id":"c9374d9c-bc2f-4ea9-9d1f-fe5a9d37ced1"},{"elementConfiguration":{"image":"{{Form.SAPLogo.LogoWhite}}","disableUpdates":false,"type":"image"},"type":"shape","id":"87f23f44-5671-4d59-aa70-a56fa79f0d38"},{"elementConfiguration":{"image":"{{Form.SAPLogo.SubbrandWhite}}","visibility":"{{IfElse(Equals(Form.SAPLogo.HideSubBrandShape, \"Yes\"), VisibilityType.Hidden, VisibilityType.Visible)}}","disableUpdates":false,"type":"image"},"type":"shape","id":"a6690f6d-12a0-4492-989f-ee7248cf29b2"},{"elementConfiguration":{"binding":"{{DataSources.Classification[Form.Classification.Name].Display}}","disableUpdates":false,"type":"text"},"type":"shape","id":"aa182e57-eaf6-4b28-ad8b-c8b5f60f74e9"},{"elementConfiguration":{"image":"{{Form.SAPLogo.LogoBlack}}","disableUpdates":false,"type":"image"},"type":"shape","id":"c48f26f3-9de5-454c-b9e3-1027bb297583"},{"elementConfiguration":{"image":"{{Form.SAPLogo.SubbrandBlack}}","visibility":"{{IfElse(Equals(Form.SAPLogo.HideSubBrandShape, \"Yes\"), VisibilityType.Hidden, VisibilityType.Visible)}}","disableUpdates":false,"type":"image"},"type":"shape","id":"efb4975c-edd3-4d8e-9801-9d8ad09e48ba"},{"elementConfiguration":{"binding":"{{DataSources.Classification[Form.Classification.Name].Display}}","disableUpdates":false,"type":"text"},"type":"shape","id":"839dfe1a-fefb-4712-b006-6ab74fa63a04"},{"elementConfiguration":{"binding":"{{FormatDateTime(Form.Date,\"MMMM dd, yyyy\",\"en-US\")}}","disableUpdates":false,"type":"text"},"type":"shape","id":"729e91d1-99e8-4600-9712-f74a034a28fa"},{"elementConfiguration":{"binding":"{{StringJoin(\", \", Form.SpeakerName,\"SAP\")}}","disableUpdates":false,"type":"text"},"type":"shape","id":"a49bfef0-b13b-4167-91a7-798b49fd6e80"},{"elementConfiguration":{"image":"{{Form.SAPLogo.LogoBlack}}","disableUpdates":false,"type":"image"},"type":"shape","id":"8fa580e0-60de-4859-826c-3f778bb1c634"},{"elementConfiguration":{"binding":"{{DataSources.Classification[Form.Classification.Name].Display}}","disableUpdates":false,"type":"text"},"type":"shape","id":"8177ae73-b222-4795-94bc-12148a67715b"},{"elementConfiguration":{"image":"{{Form.SAPLogo.SubbrandBlack}}","visibility":"{{IfElse(Equals(Form.SAPLogo.HideSubBrandShape, \"Yes\"), VisibilityType.Hidden, VisibilityType.Visible)}}","disableUpdates":false,"type":"image"},"type":"shape","id":"3360383a-7530-4253-982f-54c9c739b23d"},{"elementConfiguration":{"binding":"{{DataSources.Classification[Form.Classification.Name].Display}}","disableUpdates":false,"type":"text"},"type":"shape","id":"b0a39dc1-5cf9-4ab8-82f5-437452eed83b"},{"elementConfiguration":{"binding":"{{FormatDateTime(Form.Date,\"MMMM dd, yyyy\",\"en-US\")}}","disableUpdates":false,"type":"text"},"type":"shape","id":"574ae19f-685f-4760-bc9a-612c1d5117bf"},{"elementConfiguration":{"binding":"{{StringJoin(\", \", Form.SpeakerName,\"SAP\")}}","disableUpdates":false,"type":"text"},"type":"shape","id":"26c22a0a-39cb-4e29-b885-386f933c6934"},{"elementConfiguration":{"image":"{{Form.SAPLogo.LogoBlack}}","disableUpdates":false,"type":"image"},"type":"shape","id":"d575aaf5-e081-48ee-afd8-a7f18869d748"},{"elementConfiguration":{"binding":"{{DataSources.Classification[Form.Classification.Name].Display}}","disableUpdates":false,"type":"text"},"type":"shape","id":"cff6036f-bd4e-482f-9d33-c867e44eb4db"},{"elementConfiguration":{"image":"{{Form.SAPLogo.SubbrandBlack}}","visibility":"{{IfElse(Equals(Form.SAPLogo.HideSubBrandShape, \"Yes\"), VisibilityType.Hidden, VisibilityType.Visible)}}","disableUpdates":false,"type":"image"},"type":"shape","id":"d0975669-fd1a-479f-a155-686ec3b49497"},{"elementConfiguration":{"binding":"{{DataSources.Classification[Form.Classification.Name].Display}}","disableUpdates":false,"type":"text"},"type":"shape","id":"de83b89e-06f8-4a66-bc78-e0ce11a647df"},{"elementConfiguration":{"binding":"{{FormatDateTime(Form.Date,\"MMMM dd, yyyy\",\"en-US\")}}","disableUpdates":false,"type":"text"},"type":"shape","id":"750ae7db-3190-4f26-9cf0-70c9bae50bf6"},{"elementConfiguration":{"binding":"{{StringJoin(\", \", Form.SpeakerName,\"SAP\")}}","disableUpdates":false,"type":"text"},"type":"shape","id":"02f54ec1-6a21-459e-adb1-999fde8be390"},{"elementConfiguration":{"image":"{{Form.SAPLogo.LogoBlack}}","disableUpdates":false,"type":"image"},"type":"shape","id":"43bd4141-03ec-42e8-932a-bf9d012495f4"},{"elementConfiguration":{"image":"{{Form.SAPLogo.SubbrandBlack}}","visibility":"{{IfElse(Equals(Form.SAPLogo.HideSubBrandShape, \"Yes\"), VisibilityType.Hidden, VisibilityType.Visible)}}","disableUpdates":false,"type":"image"},"type":"shape","id":"5f013b52-6a7f-41f0-aa25-c97897731de0"},{"elementConfiguration":{"binding":"{{Form.SpeakerName}}","disableUpdates":false,"type":"text"},"type":"shape","id":"2e815dc4-b8aa-4b52-950e-8b2f00e4124f"},{"elementConfiguration":{"binding":"{{Form.Email}}","disableUpdates":false,"type":"text"},"type":"shape","id":"9cfdf92a-b699-438c-903f-0473215e6f41"},{"elementConfiguration":{"binding":"{{FormatDateTime(Form.Date,\"MMMM dd, yyyy\",\"en-US\")}}","disableUpdates":false,"type":"text"},"type":"shape","id":"ebb29b36-d22b-4f53-beba-a2332872191f"},{"elementConfiguration":{"binding":"{{StringJoin(\", \", Form.SpeakerName,\"SAP\")}}","disableUpdates":false,"type":"text"},"type":"shape","id":"d9d69332-65b8-4088-93a3-c61bed7d1a26"},{"elementConfiguration":{"binding":"{{StringJoin(\", \", Form.SpeakerName,\"SAP\")}}","disableUpdates":false,"type":"text"},"type":"shape","id":"2458dd32-e862-441c-976c-e40162160342"},{"elementConfiguration":{"binding":"{{FormatDateTime(Form.Date,\"MMMM dd, yyyy\",\"en-US\")}}","disableUpdates":false,"type":"text"},"type":"shape","id":"9dc281a2-1515-4b5f-a329-a0d12cab3869"},{"elementConfiguration":{"binding":"{{FormatDateTime(Form.Date,\"MMMM dd, yyyy\",\"en-US\")}}","disableUpdates":false,"type":"text"},"type":"shape","id":"9b29954b-42c6-4240-987c-8b8fefce57cb"},{"elementConfiguration":{"binding":"{{StringJoin(\", \", Form.SpeakerName,\"SAP\")}}","disableUpdates":false,"type":"text"},"type":"shape","id":"42dfa081-e584-4a42-9a92-1d6bc1480e74"},{"elementConfiguration":{"binding":"{{FormatDateTime(Form.Date,\"MMMM dd, yyyy\",\"en-US\")}}","disableUpdates":false,"type":"text"},"type":"shape","id":"98b2335e-1303-4ca6-bd74-42353843bc50"},{"elementConfiguration":{"binding":"{{StringJoin(\", \", Form.SpeakerName,\"SAP\")}}","disableUpdates":false,"type":"text"},"type":"shape","id":"1e266ec8-accb-48ec-ae31-8a0f9ab68444"},{"elementConfiguration":{"binding":"{{Form.Email}}","disableUpdates":false,"type":"text"},"type":"shape","id":"c5795077-d4a2-4854-b837-dc0c6a3645fe"},{"elementConfiguration":{"binding":"{{Form.SpeakerName}}","disableUpdates":false,"type":"text"},"type":"shape","id":"a94a922e-fddc-4f84-84f2-24578e6ee879"}],"transformationConfigurations":[],"templateName":"White Template","templateDescription":"","enableDocumentContentUpdater":true,"version":"2.0"}]]></TemplafyTemplateConfiguration>
</file>

<file path=customXml/item11.xml><?xml version="1.0" encoding="utf-8"?>
<TemplafyFormConfiguration><![CDATA[{"formFields":[{"distinct":false,"hideIfNoUserInteractionRequired":false,"required":true,"autoSelectFirstOption":false,"shareValue":false,"type":"dropDown","dataSourceName":"PPTSubBrandLogos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shareValue":false,"type":"textBox","name":"SpeakerName","label":"Speaker Name"},{"required":false,"placeholder":"","lines":1,"defaultValue":"{{UserProfile.Email}}","shareValue":false,"type":"textBox","name":"Email","label":"Email"}],"formDataEntries":[{"name":"SAPLogo","value":"YvFCCJr4i9NpRnrWPXVTMQFUGzuS1IzMqMdk8FuaIpA="},{"name":"Classification","value":"bNSU3Pw4Gyc4shCtJaykrx0wvtlxo5J8zr5MhVcSZRA="},{"name":"SpeakerName","value":"RNz3HBsByt6aZUF+n+m9vw=="},{"name":"Email","value":"UNDLzHYYlqDDq3jI4jyUqdfNCGFDKfrBAEO7RzFyD8M="}]}]]></TemplafyForm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TemplateConfiguration><![CDATA[{"slideVersion":1,"isValidatorEnabled":false,"isLocked":false,"elementsMetadata":[{"type":"shape","elementConfiguration":{"image":"{{Form.SAPLogo.LogoWhite}}","disableUpdates":false,"type":"image"}},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binding":"{{DataSources.Classification[Form.Classification.Name].Display}}","disableUpdates":false,"type":"text"}},{"type":"shape","elementConfiguration":{"binding":"{{FormatDateTime(Form.Date,\"MMMM dd, yyyy\",\"en-US\")}}","disableUpdates":false,"type":"text"}},{"type":"shape","elementConfiguration":{"binding":"{{StringJoin(\", \", Form.SpeakerName,\"SAP\")}}","disableUpdates":false,"type":"text"}}],"slideId":"637839697263203476","enableDocumentContentUpdater":true,"version":"2.0"}]]></TemplafySlideTemplateConfiguration>
</file>

<file path=customXml/item14.xml><?xml version="1.0" encoding="utf-8"?>
<TemplafySlideTemplateConfiguration><![CDATA[{"slideVersion":1,"isValidatorEnabled":false,"isLocked":false,"elementsMetadata":[],"slideId":"637879497279717699","enableDocumentContentUpdater":true,"version":"2.0"}]]></TemplafySlideTemplate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TemplateConfiguration><![CDATA[{"slideVersion":1,"isValidatorEnabled":false,"isLocked":false,"elementsMetadata":[],"slideId":"637878478204845249","enableDocumentContentUpdater":true,"version":"2.0"}]]></TemplafySlideTemplate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FormConfiguration><![CDATA[{"formFields":[{"dataSourceName":"PPTSubBrandLogos","dataSourceFieldName":"Name","distinct":false,"hideIfNoUserInteractionRequired":false,"required":true,"autoSelectFirstOption":false,"shareValue":false,"type":"dropDown","name":"SAPLogo","label":"Select Template"},{"required":false,"placeholder":"","lines":1,"defaultValue":"{{StringJoin(\" \", UserProfile.FirstName,UserProfile.LastName)}}","shareValue":false,"type":"textBox","name":"SpeakerName","label":"Speaker Name"},{"required":false,"placeholder":"","lines":1,"defaultValue":"{{UserProfile.Email}}","shareValue":false,"type":"textBox","name":"Email","label":"Email"}],"formDataEntries":[]}]]></TemplafySlideFormConfiguration>
</file>

<file path=customXml/item19.xml><?xml version="1.0" encoding="utf-8"?>
<TemplafySlideTemplateConfiguration><![CDATA[{"slideVersion":1,"isValidatorEnabled":false,"isLocked":false,"elementsMetadata":[{"elementConfiguration":{"binding":"{{Form.Email}}","disableUpdates":false,"type":"text"},"type":"shape"},{"elementConfiguration":{"binding":"{{Form.SpeakerName}}","disableUpdates":false,"type":"text"},"type":"shape"},{"elementConfiguration":{"image":"{{Form.SAPLogo.LogoWhite}}","disableUpdates":false,"type":"image"},"type":"shape"},{"elementConfiguration":{"image":"{{Form.SAPLogo.SubbrandWhite}}","visibility":"{{IfElse(Equals(Form.SAPLogo.HideSubBrandShape, \"Yes\"), VisibilityType.Hidden, VisibilityType.Visible)}}","disableUpdates":false,"type":"image"},"type":"shape"}],"slideId":"637879497279863482","enableDocumentContentUpdater":true,"version":"2.0"}]]></TemplafySlideTemplateConfiguration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TemplafySlideTemplateConfiguration><![CDATA[{"slideVersion":1,"isValidatorEnabled":false,"isLocked":false,"elementsMetadata":[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image":"{{Form.SAPLogo.LogoWhite}}","disableUpdates":false,"type":"image"}}],"slideId":"637836292836062023","enableDocumentContentUpdater":true,"version":"2.0"}]]></TemplafySlideTemplate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slideVersion":1,"isValidatorEnabled":false,"isLocked":false,"elementsMetadata":[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image":"{{Form.SAPLogo.LogoWhite}}","disableUpdates":false,"type":"image"}}],"slideId":"637836292836106563","enableDocumentContentUpdater":true,"version":"2.0"}]]></TemplafySlideTemplate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C44C1E076F384B9D9B90296066EE3A" ma:contentTypeVersion="12" ma:contentTypeDescription="Create a new document." ma:contentTypeScope="" ma:versionID="e96ce0d0bd72a9b4077de74fa7af5c3c">
  <xsd:schema xmlns:xsd="http://www.w3.org/2001/XMLSchema" xmlns:xs="http://www.w3.org/2001/XMLSchema" xmlns:p="http://schemas.microsoft.com/office/2006/metadata/properties" xmlns:ns2="b5aa4ab1-e5db-41b4-880b-a0eaa6706781" xmlns:ns3="5203032f-6d9a-47f3-9010-dafb4fbb4d0c" targetNamespace="http://schemas.microsoft.com/office/2006/metadata/properties" ma:root="true" ma:fieldsID="ba1ed509efd34c2a84e3225b0031967b" ns2:_="" ns3:_="">
    <xsd:import namespace="b5aa4ab1-e5db-41b4-880b-a0eaa6706781"/>
    <xsd:import namespace="5203032f-6d9a-47f3-9010-dafb4fbb4d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aa4ab1-e5db-41b4-880b-a0eaa67067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c7b3fb9d-ee0a-40a8-bd42-4026b75186d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03032f-6d9a-47f3-9010-dafb4fbb4d0c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b078f7dd-7d5f-4fd8-8fe2-148d525a1518}" ma:internalName="TaxCatchAll" ma:showField="CatchAllData" ma:web="5203032f-6d9a-47f3-9010-dafb4fbb4d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5aa4ab1-e5db-41b4-880b-a0eaa6706781">
      <Terms xmlns="http://schemas.microsoft.com/office/infopath/2007/PartnerControls"/>
    </lcf76f155ced4ddcb4097134ff3c332f>
    <TaxCatchAll xmlns="5203032f-6d9a-47f3-9010-dafb4fbb4d0c" xsi:nil="true"/>
  </documentManagement>
</p:properties>
</file>

<file path=customXml/itemProps1.xml><?xml version="1.0" encoding="utf-8"?>
<ds:datastoreItem xmlns:ds="http://schemas.openxmlformats.org/officeDocument/2006/customXml" ds:itemID="{CE6C8EE9-E091-493A-9E13-2CE4C3DA7E88}">
  <ds:schemaRefs/>
</ds:datastoreItem>
</file>

<file path=customXml/itemProps10.xml><?xml version="1.0" encoding="utf-8"?>
<ds:datastoreItem xmlns:ds="http://schemas.openxmlformats.org/officeDocument/2006/customXml" ds:itemID="{626BBCBB-1894-4E66-BA48-9E91CE3ACBA0}">
  <ds:schemaRefs/>
</ds:datastoreItem>
</file>

<file path=customXml/itemProps11.xml><?xml version="1.0" encoding="utf-8"?>
<ds:datastoreItem xmlns:ds="http://schemas.openxmlformats.org/officeDocument/2006/customXml" ds:itemID="{CC49FFC8-2FF3-4057-96F0-3BCD1A4F0351}">
  <ds:schemaRefs/>
</ds:datastoreItem>
</file>

<file path=customXml/itemProps12.xml><?xml version="1.0" encoding="utf-8"?>
<ds:datastoreItem xmlns:ds="http://schemas.openxmlformats.org/officeDocument/2006/customXml" ds:itemID="{A9F7EF9C-AD0B-44D8-977A-293A59A8496B}">
  <ds:schemaRefs/>
</ds:datastoreItem>
</file>

<file path=customXml/itemProps13.xml><?xml version="1.0" encoding="utf-8"?>
<ds:datastoreItem xmlns:ds="http://schemas.openxmlformats.org/officeDocument/2006/customXml" ds:itemID="{AC186CB8-DE82-4000-AAC9-4B44A24DF3D8}">
  <ds:schemaRefs/>
</ds:datastoreItem>
</file>

<file path=customXml/itemProps14.xml><?xml version="1.0" encoding="utf-8"?>
<ds:datastoreItem xmlns:ds="http://schemas.openxmlformats.org/officeDocument/2006/customXml" ds:itemID="{97E3BD22-8559-41C7-B32B-85AADBCE3220}">
  <ds:schemaRefs/>
</ds:datastoreItem>
</file>

<file path=customXml/itemProps15.xml><?xml version="1.0" encoding="utf-8"?>
<ds:datastoreItem xmlns:ds="http://schemas.openxmlformats.org/officeDocument/2006/customXml" ds:itemID="{7F6898E6-9ADD-4538-B0E5-FC21C8DB6903}">
  <ds:schemaRefs/>
</ds:datastoreItem>
</file>

<file path=customXml/itemProps16.xml><?xml version="1.0" encoding="utf-8"?>
<ds:datastoreItem xmlns:ds="http://schemas.openxmlformats.org/officeDocument/2006/customXml" ds:itemID="{1D86B411-DFC0-4CEB-85CD-999DE7D4BAFF}">
  <ds:schemaRefs/>
</ds:datastoreItem>
</file>

<file path=customXml/itemProps17.xml><?xml version="1.0" encoding="utf-8"?>
<ds:datastoreItem xmlns:ds="http://schemas.openxmlformats.org/officeDocument/2006/customXml" ds:itemID="{2313A804-E20F-46D7-9ED1-9D4C9A288A6F}">
  <ds:schemaRefs/>
</ds:datastoreItem>
</file>

<file path=customXml/itemProps18.xml><?xml version="1.0" encoding="utf-8"?>
<ds:datastoreItem xmlns:ds="http://schemas.openxmlformats.org/officeDocument/2006/customXml" ds:itemID="{10A6F4D9-E835-43D5-8E7C-6E2A09B1A547}">
  <ds:schemaRefs/>
</ds:datastoreItem>
</file>

<file path=customXml/itemProps19.xml><?xml version="1.0" encoding="utf-8"?>
<ds:datastoreItem xmlns:ds="http://schemas.openxmlformats.org/officeDocument/2006/customXml" ds:itemID="{382C1131-6B8B-4A16-9A07-4A3F53982264}">
  <ds:schemaRefs/>
</ds:datastoreItem>
</file>

<file path=customXml/itemProps2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0143FF3-3290-430A-B2BD-45BEBE6E80B1}">
  <ds:schemaRefs/>
</ds:datastoreItem>
</file>

<file path=customXml/itemProps4.xml><?xml version="1.0" encoding="utf-8"?>
<ds:datastoreItem xmlns:ds="http://schemas.openxmlformats.org/officeDocument/2006/customXml" ds:itemID="{6676DF0E-1FCC-47B2-AA1F-7966BD03FC82}">
  <ds:schemaRefs/>
</ds:datastoreItem>
</file>

<file path=customXml/itemProps5.xml><?xml version="1.0" encoding="utf-8"?>
<ds:datastoreItem xmlns:ds="http://schemas.openxmlformats.org/officeDocument/2006/customXml" ds:itemID="{099A12C3-1BD4-4D9A-BAAC-1927D61656DB}">
  <ds:schemaRefs/>
</ds:datastoreItem>
</file>

<file path=customXml/itemProps6.xml><?xml version="1.0" encoding="utf-8"?>
<ds:datastoreItem xmlns:ds="http://schemas.openxmlformats.org/officeDocument/2006/customXml" ds:itemID="{F9415C09-7C35-4E43-8058-C2F9C640DD7F}">
  <ds:schemaRefs/>
</ds:datastoreItem>
</file>

<file path=customXml/itemProps7.xml><?xml version="1.0" encoding="utf-8"?>
<ds:datastoreItem xmlns:ds="http://schemas.openxmlformats.org/officeDocument/2006/customXml" ds:itemID="{60467ADA-75A7-4361-8C2B-20A1B5C79660}">
  <ds:schemaRefs/>
</ds:datastoreItem>
</file>

<file path=customXml/itemProps8.xml><?xml version="1.0" encoding="utf-8"?>
<ds:datastoreItem xmlns:ds="http://schemas.openxmlformats.org/officeDocument/2006/customXml" ds:itemID="{23F4F2ED-0CC3-4D0A-A793-DF2880E5B7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aa4ab1-e5db-41b4-880b-a0eaa6706781"/>
    <ds:schemaRef ds:uri="5203032f-6d9a-47f3-9010-dafb4fbb4d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9.xml><?xml version="1.0" encoding="utf-8"?>
<ds:datastoreItem xmlns:ds="http://schemas.openxmlformats.org/officeDocument/2006/customXml" ds:itemID="{C1422F45-04DB-421D-8796-270006657806}">
  <ds:schemaRefs>
    <ds:schemaRef ds:uri="5203032f-6d9a-47f3-9010-dafb4fbb4d0c"/>
    <ds:schemaRef ds:uri="b5aa4ab1-e5db-41b4-880b-a0eaa670678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91</TotalTime>
  <Words>1458</Words>
  <Application>Microsoft Office PowerPoint</Application>
  <PresentationFormat>Custom</PresentationFormat>
  <Paragraphs>240</Paragraphs>
  <Slides>17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72</vt:lpstr>
      <vt:lpstr>Arial</vt:lpstr>
      <vt:lpstr>Calibri</vt:lpstr>
      <vt:lpstr>Courier New</vt:lpstr>
      <vt:lpstr>Symbol</vt:lpstr>
      <vt:lpstr>System Font Regular</vt:lpstr>
      <vt:lpstr>Wingdings</vt:lpstr>
      <vt:lpstr>Wingdings</vt:lpstr>
      <vt:lpstr>SAP 2022 16x9 white</vt:lpstr>
      <vt:lpstr>1_SAP 2022 16x9 black</vt:lpstr>
      <vt:lpstr>SAP 2022 16x9 blue</vt:lpstr>
      <vt:lpstr>think-cell Slide</vt:lpstr>
      <vt:lpstr>DT262- Execute Bots Rapidly in SAP S/4HANA Cloud with SAP Built Process Automation</vt:lpstr>
      <vt:lpstr>Agenda</vt:lpstr>
      <vt:lpstr>SAP Build Process Automation </vt:lpstr>
      <vt:lpstr>The path to SAP Process Automation Move to process automation at your own speed or make a fresh start</vt:lpstr>
      <vt:lpstr>Introducing SAP Build Process Automation  Capabilities: citizen automation for line-of-business builders</vt:lpstr>
      <vt:lpstr>Solution Overview</vt:lpstr>
      <vt:lpstr>Citizen developer workflow and automation in ONE product experience</vt:lpstr>
      <vt:lpstr>Agent 3 New!!</vt:lpstr>
      <vt:lpstr>Extend SAP S/4HANA Cloud Pre-built Content with Workflow   </vt:lpstr>
      <vt:lpstr>Accelerate business transformation with prebuilt content packages</vt:lpstr>
      <vt:lpstr>Hands-on Exercise Flow</vt:lpstr>
      <vt:lpstr>Hands-on Exercise Flow</vt:lpstr>
      <vt:lpstr>Hands-on Exercises Logon Credentials</vt:lpstr>
      <vt:lpstr>PowerPoint Presentation</vt:lpstr>
      <vt:lpstr>PowerPoint Presentation</vt:lpstr>
      <vt:lpstr>Additional TechEd sessions</vt:lpstr>
      <vt:lpstr>Open new career opportunities Join the community of people with skills for the futur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subject/>
  <dc:creator>SAP</dc:creator>
  <cp:keywords>2022/16:9/white</cp:keywords>
  <dc:description/>
  <cp:lastModifiedBy>Kamath, Amitha</cp:lastModifiedBy>
  <cp:revision>9</cp:revision>
  <dcterms:created xsi:type="dcterms:W3CDTF">2022-08-30T06:19:10Z</dcterms:created>
  <dcterms:modified xsi:type="dcterms:W3CDTF">2022-11-16T02:04:2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101452479</vt:i4>
  </property>
  <property fmtid="{D5CDD505-2E9C-101B-9397-08002B2CF9AE}" pid="3" name="_NewReviewCycle">
    <vt:lpwstr/>
  </property>
  <property fmtid="{D5CDD505-2E9C-101B-9397-08002B2CF9AE}" pid="4" name="_EmailSubject">
    <vt:lpwstr>SAP - PPT Exploration (Updated)</vt:lpwstr>
  </property>
  <property fmtid="{D5CDD505-2E9C-101B-9397-08002B2CF9AE}" pid="5" name="_AuthorEmail">
    <vt:lpwstr>heidi.bitz@sap.com</vt:lpwstr>
  </property>
  <property fmtid="{D5CDD505-2E9C-101B-9397-08002B2CF9AE}" pid="6" name="_AuthorEmailDisplayName">
    <vt:lpwstr>Bitz, Heidi</vt:lpwstr>
  </property>
  <property fmtid="{D5CDD505-2E9C-101B-9397-08002B2CF9AE}" pid="7" name="_PreviousAdHocReviewCycleID">
    <vt:i4>1357826825</vt:i4>
  </property>
  <property fmtid="{D5CDD505-2E9C-101B-9397-08002B2CF9AE}" pid="8" name="ContentTypeId">
    <vt:lpwstr>0x010100A9C44C1E076F384B9D9B90296066EE3A</vt:lpwstr>
  </property>
  <property fmtid="{D5CDD505-2E9C-101B-9397-08002B2CF9AE}" pid="9" name="TemplafyTimeStamp">
    <vt:lpwstr>2022-07-04T13:53:54</vt:lpwstr>
  </property>
  <property fmtid="{D5CDD505-2E9C-101B-9397-08002B2CF9AE}" pid="10" name="TemplafyTenantId">
    <vt:lpwstr>sap</vt:lpwstr>
  </property>
  <property fmtid="{D5CDD505-2E9C-101B-9397-08002B2CF9AE}" pid="11" name="TemplafyTemplateId">
    <vt:lpwstr>637750826308903787</vt:lpwstr>
  </property>
  <property fmtid="{D5CDD505-2E9C-101B-9397-08002B2CF9AE}" pid="12" name="TemplafyUserProfileId">
    <vt:lpwstr>637708447922820190</vt:lpwstr>
  </property>
  <property fmtid="{D5CDD505-2E9C-101B-9397-08002B2CF9AE}" pid="13" name="TemplafyLanguageCode">
    <vt:lpwstr>en-US</vt:lpwstr>
  </property>
  <property fmtid="{D5CDD505-2E9C-101B-9397-08002B2CF9AE}" pid="14" name="TemplafyFromBlank">
    <vt:bool>false</vt:bool>
  </property>
  <property fmtid="{D5CDD505-2E9C-101B-9397-08002B2CF9AE}" pid="15" name="MediaServiceImageTags">
    <vt:lpwstr/>
  </property>
</Properties>
</file>